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2"/>
  </p:notesMasterIdLst>
  <p:sldIdLst>
    <p:sldId id="288" r:id="rId2"/>
    <p:sldId id="267" r:id="rId3"/>
    <p:sldId id="256" r:id="rId4"/>
    <p:sldId id="291" r:id="rId5"/>
    <p:sldId id="266" r:id="rId6"/>
    <p:sldId id="294" r:id="rId7"/>
    <p:sldId id="258" r:id="rId8"/>
    <p:sldId id="261" r:id="rId9"/>
    <p:sldId id="257" r:id="rId10"/>
    <p:sldId id="269" r:id="rId11"/>
    <p:sldId id="265" r:id="rId12"/>
    <p:sldId id="299" r:id="rId13"/>
    <p:sldId id="300" r:id="rId14"/>
    <p:sldId id="301" r:id="rId15"/>
    <p:sldId id="275" r:id="rId16"/>
    <p:sldId id="304" r:id="rId17"/>
    <p:sldId id="305" r:id="rId18"/>
    <p:sldId id="306" r:id="rId19"/>
    <p:sldId id="307" r:id="rId20"/>
    <p:sldId id="289" r:id="rId2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480" autoAdjust="0"/>
    <p:restoredTop sz="94660"/>
  </p:normalViewPr>
  <p:slideViewPr>
    <p:cSldViewPr snapToGrid="0">
      <p:cViewPr varScale="1">
        <p:scale>
          <a:sx n="83" d="100"/>
          <a:sy n="83" d="100"/>
        </p:scale>
        <p:origin x="758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-132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0D018C-E207-4BC7-BF2E-64DDBAA5BCC7}" type="datetimeFigureOut">
              <a:rPr lang="en-US" smtClean="0"/>
              <a:t>5/8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0BB102D-F3C1-4E0C-A8F0-B38D23FEB4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86511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812A14-8A94-462D-B76C-722C561B26D5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37996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745847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F7B8D51-8CCE-4723-8ACC-91A7A55D4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029BFC9-203D-43E9-848C-3B2FB94C6E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B486C7F-12B1-4800-8FB6-6B06420108F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4BF29DD-910F-4D55-B431-E71628DEB6E2}" type="datetimeFigureOut">
              <a:rPr lang="en-US" smtClean="0"/>
              <a:t>5/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AF6EF36-DA67-46FA-83F1-AD98054D3A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6A2EE6F-9572-4FC7-A582-AE3F61210B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7D3D914-A701-4CB1-97D3-C4A6274863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8226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jp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49.png"/><Relationship Id="rId4" Type="http://schemas.openxmlformats.org/officeDocument/2006/relationships/image" Target="../media/image48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5" Type="http://schemas.openxmlformats.org/officeDocument/2006/relationships/image" Target="../media/image52.png"/><Relationship Id="rId4" Type="http://schemas.openxmlformats.org/officeDocument/2006/relationships/image" Target="../media/image51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40.jp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6" Type="http://schemas.openxmlformats.org/officeDocument/2006/relationships/image" Target="../media/image54.png"/><Relationship Id="rId5" Type="http://schemas.openxmlformats.org/officeDocument/2006/relationships/hyperlink" Target="https://www.linkedin.com/in/rahmawaminggu/" TargetMode="External"/><Relationship Id="rId4" Type="http://schemas.openxmlformats.org/officeDocument/2006/relationships/image" Target="../media/image2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Rectangle 56">
            <a:extLst>
              <a:ext uri="{FF2B5EF4-FFF2-40B4-BE49-F238E27FC236}">
                <a16:creationId xmlns:a16="http://schemas.microsoft.com/office/drawing/2014/main" id="{C6DB0B50-878D-48DE-987E-ADD15A091803}"/>
              </a:ext>
            </a:extLst>
          </p:cNvPr>
          <p:cNvSpPr/>
          <p:nvPr/>
        </p:nvSpPr>
        <p:spPr>
          <a:xfrm>
            <a:off x="1" y="0"/>
            <a:ext cx="203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>
            <a:outerShdw blurRad="1270000" sx="102000" sy="102000" algn="ctr" rotWithShape="0">
              <a:prstClr val="black">
                <a:alpha val="3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6EB0C549-08A4-4AEC-8FD3-C4A48E3B6831}"/>
              </a:ext>
            </a:extLst>
          </p:cNvPr>
          <p:cNvSpPr/>
          <p:nvPr/>
        </p:nvSpPr>
        <p:spPr>
          <a:xfrm>
            <a:off x="2032001" y="0"/>
            <a:ext cx="203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  <a:effectLst>
            <a:outerShdw blurRad="1270000" sx="102000" sy="102000" algn="ctr" rotWithShape="0">
              <a:prstClr val="black">
                <a:alpha val="3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20853147-03E9-4952-9B67-078DDB0BB5EA}"/>
              </a:ext>
            </a:extLst>
          </p:cNvPr>
          <p:cNvSpPr/>
          <p:nvPr/>
        </p:nvSpPr>
        <p:spPr>
          <a:xfrm>
            <a:off x="4064001" y="0"/>
            <a:ext cx="203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>
            <a:outerShdw blurRad="1270000" sx="102000" sy="102000" algn="ctr" rotWithShape="0">
              <a:prstClr val="black">
                <a:alpha val="3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06E931A9-23AF-4486-9D8B-F831930A7B24}"/>
              </a:ext>
            </a:extLst>
          </p:cNvPr>
          <p:cNvSpPr/>
          <p:nvPr/>
        </p:nvSpPr>
        <p:spPr>
          <a:xfrm>
            <a:off x="6096001" y="0"/>
            <a:ext cx="203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  <a:effectLst>
            <a:outerShdw blurRad="1270000" sx="102000" sy="102000" algn="ctr" rotWithShape="0">
              <a:prstClr val="black">
                <a:alpha val="3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7CA20061-E2B6-41D1-BA30-D5ABECA7F324}"/>
              </a:ext>
            </a:extLst>
          </p:cNvPr>
          <p:cNvSpPr/>
          <p:nvPr/>
        </p:nvSpPr>
        <p:spPr>
          <a:xfrm>
            <a:off x="8128001" y="0"/>
            <a:ext cx="203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>
            <a:outerShdw blurRad="1270000" sx="102000" sy="102000" algn="ctr" rotWithShape="0">
              <a:prstClr val="black">
                <a:alpha val="3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4A038089-D4CA-4E06-864D-7BC7D42D72EF}"/>
              </a:ext>
            </a:extLst>
          </p:cNvPr>
          <p:cNvSpPr/>
          <p:nvPr/>
        </p:nvSpPr>
        <p:spPr>
          <a:xfrm>
            <a:off x="10160001" y="0"/>
            <a:ext cx="203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  <a:effectLst>
            <a:outerShdw blurRad="1270000" sx="102000" sy="102000" algn="ctr" rotWithShape="0">
              <a:prstClr val="black">
                <a:alpha val="3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276D1926-02E9-4077-A223-7ECF6510E0A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062" b="20062"/>
          <a:stretch/>
        </p:blipFill>
        <p:spPr>
          <a:xfrm>
            <a:off x="630430" y="1246188"/>
            <a:ext cx="10931141" cy="4365625"/>
          </a:xfrm>
          <a:custGeom>
            <a:avLst/>
            <a:gdLst>
              <a:gd name="connsiteX0" fmla="*/ 2182813 w 10931141"/>
              <a:gd name="connsiteY0" fmla="*/ 0 h 4365625"/>
              <a:gd name="connsiteX1" fmla="*/ 2182813 w 10931141"/>
              <a:gd name="connsiteY1" fmla="*/ 12672 h 4365625"/>
              <a:gd name="connsiteX2" fmla="*/ 2266114 w 10931141"/>
              <a:gd name="connsiteY2" fmla="*/ 4274 h 4365625"/>
              <a:gd name="connsiteX3" fmla="*/ 10380099 w 10931141"/>
              <a:gd name="connsiteY3" fmla="*/ 4274 h 4365625"/>
              <a:gd name="connsiteX4" fmla="*/ 10931141 w 10931141"/>
              <a:gd name="connsiteY4" fmla="*/ 555317 h 4365625"/>
              <a:gd name="connsiteX5" fmla="*/ 10380099 w 10931141"/>
              <a:gd name="connsiteY5" fmla="*/ 1106359 h 4365625"/>
              <a:gd name="connsiteX6" fmla="*/ 2266114 w 10931141"/>
              <a:gd name="connsiteY6" fmla="*/ 1106359 h 4365625"/>
              <a:gd name="connsiteX7" fmla="*/ 2155061 w 10931141"/>
              <a:gd name="connsiteY7" fmla="*/ 1095164 h 4365625"/>
              <a:gd name="connsiteX8" fmla="*/ 2148535 w 10931141"/>
              <a:gd name="connsiteY8" fmla="*/ 1093138 h 4365625"/>
              <a:gd name="connsiteX9" fmla="*/ 2071223 w 10931141"/>
              <a:gd name="connsiteY9" fmla="*/ 1097042 h 4365625"/>
              <a:gd name="connsiteX10" fmla="*/ 1091406 w 10931141"/>
              <a:gd name="connsiteY10" fmla="*/ 2182814 h 4365625"/>
              <a:gd name="connsiteX11" fmla="*/ 2071225 w 10931141"/>
              <a:gd name="connsiteY11" fmla="*/ 3268586 h 4365625"/>
              <a:gd name="connsiteX12" fmla="*/ 2167729 w 10931141"/>
              <a:gd name="connsiteY12" fmla="*/ 3273459 h 4365625"/>
              <a:gd name="connsiteX13" fmla="*/ 2266114 w 10931141"/>
              <a:gd name="connsiteY13" fmla="*/ 3263540 h 4365625"/>
              <a:gd name="connsiteX14" fmla="*/ 3460033 w 10931141"/>
              <a:gd name="connsiteY14" fmla="*/ 3263540 h 4365625"/>
              <a:gd name="connsiteX15" fmla="*/ 4011074 w 10931141"/>
              <a:gd name="connsiteY15" fmla="*/ 3814583 h 4365625"/>
              <a:gd name="connsiteX16" fmla="*/ 3460033 w 10931141"/>
              <a:gd name="connsiteY16" fmla="*/ 4365625 h 4365625"/>
              <a:gd name="connsiteX17" fmla="*/ 2266114 w 10931141"/>
              <a:gd name="connsiteY17" fmla="*/ 4365625 h 4365625"/>
              <a:gd name="connsiteX18" fmla="*/ 2182813 w 10931141"/>
              <a:gd name="connsiteY18" fmla="*/ 4357229 h 4365625"/>
              <a:gd name="connsiteX19" fmla="*/ 2182813 w 10931141"/>
              <a:gd name="connsiteY19" fmla="*/ 4365625 h 4365625"/>
              <a:gd name="connsiteX20" fmla="*/ 0 w 10931141"/>
              <a:gd name="connsiteY20" fmla="*/ 2182813 h 4365625"/>
              <a:gd name="connsiteX21" fmla="*/ 2182813 w 10931141"/>
              <a:gd name="connsiteY21" fmla="*/ 0 h 4365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931141" h="4365625">
                <a:moveTo>
                  <a:pt x="2182813" y="0"/>
                </a:moveTo>
                <a:lnTo>
                  <a:pt x="2182813" y="12672"/>
                </a:lnTo>
                <a:lnTo>
                  <a:pt x="2266114" y="4274"/>
                </a:lnTo>
                <a:lnTo>
                  <a:pt x="10380099" y="4274"/>
                </a:lnTo>
                <a:cubicBezTo>
                  <a:pt x="10684431" y="4274"/>
                  <a:pt x="10931141" y="250985"/>
                  <a:pt x="10931141" y="555317"/>
                </a:cubicBezTo>
                <a:cubicBezTo>
                  <a:pt x="10931141" y="859649"/>
                  <a:pt x="10684431" y="1106359"/>
                  <a:pt x="10380099" y="1106359"/>
                </a:cubicBezTo>
                <a:lnTo>
                  <a:pt x="2266114" y="1106359"/>
                </a:lnTo>
                <a:cubicBezTo>
                  <a:pt x="2228073" y="1106359"/>
                  <a:pt x="2190932" y="1102505"/>
                  <a:pt x="2155061" y="1095164"/>
                </a:cubicBezTo>
                <a:lnTo>
                  <a:pt x="2148535" y="1093138"/>
                </a:lnTo>
                <a:lnTo>
                  <a:pt x="2071223" y="1097042"/>
                </a:lnTo>
                <a:cubicBezTo>
                  <a:pt x="1520874" y="1152933"/>
                  <a:pt x="1091406" y="1617719"/>
                  <a:pt x="1091406" y="2182814"/>
                </a:cubicBezTo>
                <a:cubicBezTo>
                  <a:pt x="1091406" y="2747909"/>
                  <a:pt x="1520874" y="3212694"/>
                  <a:pt x="2071225" y="3268586"/>
                </a:cubicBezTo>
                <a:lnTo>
                  <a:pt x="2167729" y="3273459"/>
                </a:lnTo>
                <a:lnTo>
                  <a:pt x="2266114" y="3263540"/>
                </a:lnTo>
                <a:lnTo>
                  <a:pt x="3460033" y="3263540"/>
                </a:lnTo>
                <a:cubicBezTo>
                  <a:pt x="3764364" y="3263540"/>
                  <a:pt x="4011074" y="3510251"/>
                  <a:pt x="4011074" y="3814583"/>
                </a:cubicBezTo>
                <a:cubicBezTo>
                  <a:pt x="4011074" y="4118915"/>
                  <a:pt x="3764364" y="4365625"/>
                  <a:pt x="3460033" y="4365625"/>
                </a:cubicBezTo>
                <a:lnTo>
                  <a:pt x="2266114" y="4365625"/>
                </a:lnTo>
                <a:lnTo>
                  <a:pt x="2182813" y="4357229"/>
                </a:lnTo>
                <a:lnTo>
                  <a:pt x="2182813" y="4365625"/>
                </a:lnTo>
                <a:cubicBezTo>
                  <a:pt x="977279" y="4365625"/>
                  <a:pt x="0" y="3388346"/>
                  <a:pt x="0" y="2182813"/>
                </a:cubicBezTo>
                <a:cubicBezTo>
                  <a:pt x="0" y="977279"/>
                  <a:pt x="977279" y="0"/>
                  <a:pt x="2182813" y="0"/>
                </a:cubicBezTo>
                <a:close/>
              </a:path>
            </a:pathLst>
          </a:custGeom>
        </p:spPr>
      </p:pic>
      <p:grpSp>
        <p:nvGrpSpPr>
          <p:cNvPr id="63" name="Group 62">
            <a:extLst>
              <a:ext uri="{FF2B5EF4-FFF2-40B4-BE49-F238E27FC236}">
                <a16:creationId xmlns:a16="http://schemas.microsoft.com/office/drawing/2014/main" id="{5660DE40-5E70-4D6C-82C0-1AA34EC02C54}"/>
              </a:ext>
            </a:extLst>
          </p:cNvPr>
          <p:cNvGrpSpPr/>
          <p:nvPr/>
        </p:nvGrpSpPr>
        <p:grpSpPr>
          <a:xfrm>
            <a:off x="1864250" y="2459501"/>
            <a:ext cx="8991844" cy="2227821"/>
            <a:chOff x="1864250" y="2288795"/>
            <a:chExt cx="8991844" cy="2227821"/>
          </a:xfrm>
        </p:grpSpPr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2E223222-1D22-4535-94DC-948C64F30C65}"/>
                </a:ext>
              </a:extLst>
            </p:cNvPr>
            <p:cNvSpPr txBox="1"/>
            <p:nvPr/>
          </p:nvSpPr>
          <p:spPr>
            <a:xfrm>
              <a:off x="1864250" y="2288795"/>
              <a:ext cx="8463500" cy="193899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id-ID" sz="6000" dirty="0" err="1">
                  <a:solidFill>
                    <a:schemeClr val="bg1"/>
                  </a:solidFill>
                  <a:latin typeface="Montserrat Alternates Black" panose="00000A00000000000000" pitchFamily="50" charset="0"/>
                </a:rPr>
                <a:t>End-to-End</a:t>
              </a:r>
              <a:r>
                <a:rPr lang="id-ID" sz="6000" dirty="0">
                  <a:solidFill>
                    <a:schemeClr val="bg1"/>
                  </a:solidFill>
                  <a:latin typeface="Montserrat Alternates Black" panose="00000A00000000000000" pitchFamily="50" charset="0"/>
                </a:rPr>
                <a:t> Data </a:t>
              </a:r>
              <a:r>
                <a:rPr lang="id-ID" sz="6000" dirty="0" err="1">
                  <a:solidFill>
                    <a:schemeClr val="bg1"/>
                  </a:solidFill>
                  <a:latin typeface="Montserrat Alternates Black" panose="00000A00000000000000" pitchFamily="50" charset="0"/>
                </a:rPr>
                <a:t>Pipeline</a:t>
              </a:r>
              <a:r>
                <a:rPr lang="id-ID" sz="6000" dirty="0">
                  <a:solidFill>
                    <a:schemeClr val="bg1"/>
                  </a:solidFill>
                  <a:latin typeface="Montserrat Alternates Black" panose="00000A00000000000000" pitchFamily="50" charset="0"/>
                </a:rPr>
                <a:t> </a:t>
              </a:r>
              <a:r>
                <a:rPr lang="id-ID" sz="6000" dirty="0" err="1">
                  <a:solidFill>
                    <a:schemeClr val="bg1"/>
                  </a:solidFill>
                  <a:latin typeface="Montserrat Alternates Black" panose="00000A00000000000000" pitchFamily="50" charset="0"/>
                </a:rPr>
                <a:t>With</a:t>
              </a:r>
              <a:r>
                <a:rPr lang="id-ID" sz="6000" dirty="0">
                  <a:solidFill>
                    <a:schemeClr val="bg1"/>
                  </a:solidFill>
                  <a:latin typeface="Montserrat Alternates Black" panose="00000A00000000000000" pitchFamily="50" charset="0"/>
                </a:rPr>
                <a:t> </a:t>
              </a:r>
              <a:r>
                <a:rPr lang="id-ID" sz="6000" dirty="0" err="1">
                  <a:solidFill>
                    <a:schemeClr val="bg1"/>
                  </a:solidFill>
                  <a:latin typeface="Montserrat Alternates Black" panose="00000A00000000000000" pitchFamily="50" charset="0"/>
                </a:rPr>
                <a:t>Airflow</a:t>
              </a:r>
              <a:endParaRPr lang="id-ID" sz="6000" dirty="0">
                <a:solidFill>
                  <a:schemeClr val="bg1"/>
                </a:solidFill>
                <a:latin typeface="Montserrat Alternates Black" panose="00000A00000000000000" pitchFamily="50" charset="0"/>
              </a:endParaRPr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ED364686-9E4F-450C-A128-2540A6191F2C}"/>
                </a:ext>
              </a:extLst>
            </p:cNvPr>
            <p:cNvSpPr txBox="1"/>
            <p:nvPr/>
          </p:nvSpPr>
          <p:spPr>
            <a:xfrm>
              <a:off x="5246352" y="4147284"/>
              <a:ext cx="560974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id-ID" spc="300" dirty="0">
                  <a:solidFill>
                    <a:schemeClr val="bg1"/>
                  </a:solidFill>
                </a:rPr>
                <a:t>Study </a:t>
              </a:r>
              <a:r>
                <a:rPr lang="id-ID" spc="300" dirty="0" err="1">
                  <a:solidFill>
                    <a:schemeClr val="bg1"/>
                  </a:solidFill>
                </a:rPr>
                <a:t>Case</a:t>
              </a:r>
              <a:r>
                <a:rPr lang="id-ID" spc="300" dirty="0">
                  <a:solidFill>
                    <a:schemeClr val="bg1"/>
                  </a:solidFill>
                </a:rPr>
                <a:t> : </a:t>
              </a:r>
              <a:r>
                <a:rPr lang="en-US" spc="300" dirty="0">
                  <a:solidFill>
                    <a:schemeClr val="bg1"/>
                  </a:solidFill>
                </a:rPr>
                <a:t>Data Covid-19 </a:t>
              </a:r>
              <a:r>
                <a:rPr lang="en-US" spc="300" dirty="0" err="1">
                  <a:solidFill>
                    <a:schemeClr val="bg1"/>
                  </a:solidFill>
                </a:rPr>
                <a:t>Provinsi</a:t>
              </a:r>
              <a:r>
                <a:rPr lang="en-US" spc="300" dirty="0">
                  <a:solidFill>
                    <a:schemeClr val="bg1"/>
                  </a:solidFill>
                </a:rPr>
                <a:t> </a:t>
              </a:r>
              <a:r>
                <a:rPr lang="en-US" spc="300" dirty="0" err="1">
                  <a:solidFill>
                    <a:schemeClr val="bg1"/>
                  </a:solidFill>
                </a:rPr>
                <a:t>Jabar</a:t>
              </a:r>
              <a:endParaRPr lang="id-ID" spc="300" dirty="0">
                <a:solidFill>
                  <a:schemeClr val="bg1"/>
                </a:solidFill>
              </a:endParaRPr>
            </a:p>
          </p:txBody>
        </p:sp>
      </p:grpSp>
      <p:sp>
        <p:nvSpPr>
          <p:cNvPr id="69" name="TextBox 68">
            <a:extLst>
              <a:ext uri="{FF2B5EF4-FFF2-40B4-BE49-F238E27FC236}">
                <a16:creationId xmlns:a16="http://schemas.microsoft.com/office/drawing/2014/main" id="{57333CE2-EB93-481C-BC5E-6A4372871741}"/>
              </a:ext>
            </a:extLst>
          </p:cNvPr>
          <p:cNvSpPr txBox="1"/>
          <p:nvPr/>
        </p:nvSpPr>
        <p:spPr>
          <a:xfrm rot="5400000">
            <a:off x="11309365" y="3328970"/>
            <a:ext cx="1277915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id-ID" sz="700" spc="300" dirty="0">
                <a:solidFill>
                  <a:schemeClr val="bg1"/>
                </a:solidFill>
              </a:rPr>
              <a:t>DATA ENGINEER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1CAF9E7F-D747-4A98-A210-90C1E07DDF76}"/>
              </a:ext>
            </a:extLst>
          </p:cNvPr>
          <p:cNvSpPr txBox="1"/>
          <p:nvPr/>
        </p:nvSpPr>
        <p:spPr>
          <a:xfrm rot="5400000">
            <a:off x="-395270" y="3328970"/>
            <a:ext cx="1277915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id-ID" sz="700" spc="300" dirty="0">
                <a:solidFill>
                  <a:schemeClr val="bg1"/>
                </a:solidFill>
              </a:rPr>
              <a:t>DATA ENGINEER</a:t>
            </a: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D1D982FF-11B9-4716-B960-5889E122DE94}"/>
              </a:ext>
            </a:extLst>
          </p:cNvPr>
          <p:cNvGrpSpPr/>
          <p:nvPr/>
        </p:nvGrpSpPr>
        <p:grpSpPr>
          <a:xfrm rot="16200000">
            <a:off x="797214" y="-332152"/>
            <a:ext cx="208395" cy="1314681"/>
            <a:chOff x="243840" y="162560"/>
            <a:chExt cx="325120" cy="2051050"/>
          </a:xfrm>
          <a:solidFill>
            <a:schemeClr val="accent1"/>
          </a:solidFill>
        </p:grpSpPr>
        <p:sp>
          <p:nvSpPr>
            <p:cNvPr id="41" name="Rectangle: Rounded Corners 40">
              <a:extLst>
                <a:ext uri="{FF2B5EF4-FFF2-40B4-BE49-F238E27FC236}">
                  <a16:creationId xmlns:a16="http://schemas.microsoft.com/office/drawing/2014/main" id="{A52F5D1A-F4C0-4D1A-B2C5-93D4B841FC19}"/>
                </a:ext>
              </a:extLst>
            </p:cNvPr>
            <p:cNvSpPr/>
            <p:nvPr/>
          </p:nvSpPr>
          <p:spPr>
            <a:xfrm>
              <a:off x="243840" y="162560"/>
              <a:ext cx="325120" cy="109728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" name="Rectangle: Rounded Corners 41">
              <a:extLst>
                <a:ext uri="{FF2B5EF4-FFF2-40B4-BE49-F238E27FC236}">
                  <a16:creationId xmlns:a16="http://schemas.microsoft.com/office/drawing/2014/main" id="{88FD29C0-CDE9-47FC-9C7E-2734FCC3181B}"/>
                </a:ext>
              </a:extLst>
            </p:cNvPr>
            <p:cNvSpPr/>
            <p:nvPr/>
          </p:nvSpPr>
          <p:spPr>
            <a:xfrm>
              <a:off x="243840" y="1324610"/>
              <a:ext cx="325120" cy="508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" name="Rectangle: Rounded Corners 42">
              <a:extLst>
                <a:ext uri="{FF2B5EF4-FFF2-40B4-BE49-F238E27FC236}">
                  <a16:creationId xmlns:a16="http://schemas.microsoft.com/office/drawing/2014/main" id="{FD6393F1-71A6-4AFD-B440-9E946CC2EC8A}"/>
                </a:ext>
              </a:extLst>
            </p:cNvPr>
            <p:cNvSpPr/>
            <p:nvPr/>
          </p:nvSpPr>
          <p:spPr>
            <a:xfrm>
              <a:off x="243840" y="1897380"/>
              <a:ext cx="325120" cy="31623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ADC56C6A-E824-4DD5-B4CC-F7B088D24113}"/>
              </a:ext>
            </a:extLst>
          </p:cNvPr>
          <p:cNvGrpSpPr/>
          <p:nvPr/>
        </p:nvGrpSpPr>
        <p:grpSpPr>
          <a:xfrm rot="10800000">
            <a:off x="11739534" y="5342648"/>
            <a:ext cx="208395" cy="1314681"/>
            <a:chOff x="243840" y="162560"/>
            <a:chExt cx="325120" cy="2051050"/>
          </a:xfrm>
          <a:solidFill>
            <a:schemeClr val="accent1"/>
          </a:solidFill>
        </p:grpSpPr>
        <p:sp>
          <p:nvSpPr>
            <p:cNvPr id="45" name="Rectangle: Rounded Corners 44">
              <a:extLst>
                <a:ext uri="{FF2B5EF4-FFF2-40B4-BE49-F238E27FC236}">
                  <a16:creationId xmlns:a16="http://schemas.microsoft.com/office/drawing/2014/main" id="{559C384E-7732-4ED1-BAD9-DA49BACF23F6}"/>
                </a:ext>
              </a:extLst>
            </p:cNvPr>
            <p:cNvSpPr/>
            <p:nvPr/>
          </p:nvSpPr>
          <p:spPr>
            <a:xfrm>
              <a:off x="243840" y="162560"/>
              <a:ext cx="325120" cy="109728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" name="Rectangle: Rounded Corners 45">
              <a:extLst>
                <a:ext uri="{FF2B5EF4-FFF2-40B4-BE49-F238E27FC236}">
                  <a16:creationId xmlns:a16="http://schemas.microsoft.com/office/drawing/2014/main" id="{5D3AC9A5-7749-41E6-88FC-D648D370EDEA}"/>
                </a:ext>
              </a:extLst>
            </p:cNvPr>
            <p:cNvSpPr/>
            <p:nvPr/>
          </p:nvSpPr>
          <p:spPr>
            <a:xfrm>
              <a:off x="243840" y="1324610"/>
              <a:ext cx="325120" cy="508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7" name="Rectangle: Rounded Corners 46">
              <a:extLst>
                <a:ext uri="{FF2B5EF4-FFF2-40B4-BE49-F238E27FC236}">
                  <a16:creationId xmlns:a16="http://schemas.microsoft.com/office/drawing/2014/main" id="{CCFBA7B5-56BF-472F-A8F0-D37E04153DBE}"/>
                </a:ext>
              </a:extLst>
            </p:cNvPr>
            <p:cNvSpPr/>
            <p:nvPr/>
          </p:nvSpPr>
          <p:spPr>
            <a:xfrm>
              <a:off x="243840" y="1897380"/>
              <a:ext cx="325120" cy="31623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62D2A28D-C487-4617-B3AC-D179D7EF7ED1}"/>
              </a:ext>
            </a:extLst>
          </p:cNvPr>
          <p:cNvGrpSpPr/>
          <p:nvPr/>
        </p:nvGrpSpPr>
        <p:grpSpPr>
          <a:xfrm flipH="1">
            <a:off x="10402043" y="317"/>
            <a:ext cx="1798562" cy="507433"/>
            <a:chOff x="126915" y="6168470"/>
            <a:chExt cx="1798562" cy="507433"/>
          </a:xfrm>
        </p:grpSpPr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7000D24B-1562-4247-AF6B-02C2AFB05BC2}"/>
                </a:ext>
              </a:extLst>
            </p:cNvPr>
            <p:cNvSpPr/>
            <p:nvPr>
              <p:custDataLst>
                <p:tags r:id="rId1"/>
              </p:custDataLst>
            </p:nvPr>
          </p:nvSpPr>
          <p:spPr>
            <a:xfrm flipH="1">
              <a:off x="126915" y="6168470"/>
              <a:ext cx="1798562" cy="288071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en-US" sz="1050" dirty="0">
                  <a:solidFill>
                    <a:schemeClr val="bg1"/>
                  </a:solidFill>
                  <a:latin typeface="Segoe UI" panose="020B0502040204020203" pitchFamily="34" charset="0"/>
                  <a:ea typeface="Open Sans Light" panose="020B0306030504020204" pitchFamily="34" charset="0"/>
                  <a:cs typeface="Segoe UI" panose="020B0502040204020203" pitchFamily="34" charset="0"/>
                </a:rPr>
                <a:t>www.</a:t>
              </a:r>
              <a:r>
                <a:rPr lang="id-ID" sz="1050" dirty="0" err="1">
                  <a:solidFill>
                    <a:schemeClr val="bg1"/>
                  </a:solidFill>
                  <a:latin typeface="Segoe UI" panose="020B0502040204020203" pitchFamily="34" charset="0"/>
                  <a:ea typeface="Open Sans Light" panose="020B0306030504020204" pitchFamily="34" charset="0"/>
                  <a:cs typeface="Segoe UI" panose="020B0502040204020203" pitchFamily="34" charset="0"/>
                </a:rPr>
                <a:t>digitalskola</a:t>
              </a:r>
              <a:r>
                <a:rPr lang="en-US" sz="1050" dirty="0">
                  <a:solidFill>
                    <a:schemeClr val="bg1"/>
                  </a:solidFill>
                  <a:latin typeface="Segoe UI" panose="020B0502040204020203" pitchFamily="34" charset="0"/>
                  <a:ea typeface="Open Sans Light" panose="020B0306030504020204" pitchFamily="34" charset="0"/>
                  <a:cs typeface="Segoe UI" panose="020B0502040204020203" pitchFamily="34" charset="0"/>
                </a:rPr>
                <a:t>.com</a:t>
              </a:r>
            </a:p>
          </p:txBody>
        </p:sp>
        <p:sp>
          <p:nvSpPr>
            <p:cNvPr id="50" name="Slide Number Placeholder 9">
              <a:extLst>
                <a:ext uri="{FF2B5EF4-FFF2-40B4-BE49-F238E27FC236}">
                  <a16:creationId xmlns:a16="http://schemas.microsoft.com/office/drawing/2014/main" id="{48B2393D-902E-45D0-8FF0-6BB4CF70F257}"/>
                </a:ext>
              </a:extLst>
            </p:cNvPr>
            <p:cNvSpPr txBox="1">
              <a:spLocks/>
            </p:cNvSpPr>
            <p:nvPr/>
          </p:nvSpPr>
          <p:spPr>
            <a:xfrm flipH="1">
              <a:off x="276666" y="6310778"/>
              <a:ext cx="566563" cy="365125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en-US"/>
              </a:defPPr>
              <a:lvl1pPr marL="0" algn="ctr" defTabSz="914400" rtl="0" eaLnBrk="1" latinLnBrk="0" hangingPunct="1">
                <a:defRPr sz="10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endParaRPr lang="en-US" sz="18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sp>
        <p:nvSpPr>
          <p:cNvPr id="51" name="Rectangle 50">
            <a:extLst>
              <a:ext uri="{FF2B5EF4-FFF2-40B4-BE49-F238E27FC236}">
                <a16:creationId xmlns:a16="http://schemas.microsoft.com/office/drawing/2014/main" id="{08E3F5DD-4478-4687-96AD-963AD22814E6}"/>
              </a:ext>
            </a:extLst>
          </p:cNvPr>
          <p:cNvSpPr/>
          <p:nvPr/>
        </p:nvSpPr>
        <p:spPr>
          <a:xfrm>
            <a:off x="161037" y="6374139"/>
            <a:ext cx="4107686" cy="2965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sz="1200" b="1" dirty="0">
                <a:solidFill>
                  <a:schemeClr val="bg1"/>
                </a:solidFill>
                <a:latin typeface="Montserrat" panose="00000500000000000000" pitchFamily="50" charset="0"/>
                <a:cs typeface="Segoe UI" panose="020B0502040204020203" pitchFamily="34" charset="0"/>
              </a:rPr>
              <a:t>Present by : INDRA RAHMAWAN</a:t>
            </a:r>
          </a:p>
        </p:txBody>
      </p:sp>
      <p:sp>
        <p:nvSpPr>
          <p:cNvPr id="66" name="Oval 65">
            <a:extLst>
              <a:ext uri="{FF2B5EF4-FFF2-40B4-BE49-F238E27FC236}">
                <a16:creationId xmlns:a16="http://schemas.microsoft.com/office/drawing/2014/main" id="{FDEB32CE-F846-437C-8900-C7E6B3B25EAC}"/>
              </a:ext>
            </a:extLst>
          </p:cNvPr>
          <p:cNvSpPr/>
          <p:nvPr/>
        </p:nvSpPr>
        <p:spPr>
          <a:xfrm>
            <a:off x="9257012" y="658158"/>
            <a:ext cx="1279326" cy="127932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>
              <a:latin typeface="Montserrat ExtraBold" panose="00000900000000000000" pitchFamily="50" charset="0"/>
            </a:endParaRPr>
          </a:p>
        </p:txBody>
      </p:sp>
      <p:pic>
        <p:nvPicPr>
          <p:cNvPr id="3" name="Gambar 2">
            <a:extLst>
              <a:ext uri="{FF2B5EF4-FFF2-40B4-BE49-F238E27FC236}">
                <a16:creationId xmlns:a16="http://schemas.microsoft.com/office/drawing/2014/main" id="{74BAFF87-4E5A-2B96-591F-6D62A0F20B2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556" y="426421"/>
            <a:ext cx="1253721" cy="930143"/>
          </a:xfrm>
          <a:prstGeom prst="rect">
            <a:avLst/>
          </a:prstGeom>
        </p:spPr>
      </p:pic>
      <p:pic>
        <p:nvPicPr>
          <p:cNvPr id="1028" name="Picture 4" descr="Python Logo, history, meaning, symbol, PNG">
            <a:extLst>
              <a:ext uri="{FF2B5EF4-FFF2-40B4-BE49-F238E27FC236}">
                <a16:creationId xmlns:a16="http://schemas.microsoft.com/office/drawing/2014/main" id="{3247498F-D79D-481B-A2EE-A7E1684C03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98584" y="848895"/>
            <a:ext cx="1596181" cy="8978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80258621"/>
      </p:ext>
    </p:extLst>
  </p:cSld>
  <p:clrMapOvr>
    <a:masterClrMapping/>
  </p:clrMapOvr>
  <p:transition spd="slow">
    <p:wip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D60C2D66-9518-4BB6-99A9-CEAFDF005604}"/>
              </a:ext>
            </a:extLst>
          </p:cNvPr>
          <p:cNvSpPr/>
          <p:nvPr/>
        </p:nvSpPr>
        <p:spPr>
          <a:xfrm rot="13561310" flipH="1">
            <a:off x="5338734" y="-666975"/>
            <a:ext cx="6918461" cy="7404138"/>
          </a:xfrm>
          <a:custGeom>
            <a:avLst/>
            <a:gdLst>
              <a:gd name="connsiteX0" fmla="*/ 0 w 6843846"/>
              <a:gd name="connsiteY0" fmla="*/ 4452157 h 7324285"/>
              <a:gd name="connsiteX1" fmla="*/ 2771468 w 6843846"/>
              <a:gd name="connsiteY1" fmla="*/ 7324285 h 7324285"/>
              <a:gd name="connsiteX2" fmla="*/ 2845978 w 6843846"/>
              <a:gd name="connsiteY2" fmla="*/ 7275639 h 7324285"/>
              <a:gd name="connsiteX3" fmla="*/ 3908943 w 6843846"/>
              <a:gd name="connsiteY3" fmla="*/ 6687077 h 7324285"/>
              <a:gd name="connsiteX4" fmla="*/ 5845271 w 6843846"/>
              <a:gd name="connsiteY4" fmla="*/ 5401928 h 7324285"/>
              <a:gd name="connsiteX5" fmla="*/ 6843556 w 6843846"/>
              <a:gd name="connsiteY5" fmla="*/ 3362326 h 7324285"/>
              <a:gd name="connsiteX6" fmla="*/ 5696101 w 6843846"/>
              <a:gd name="connsiteY6" fmla="*/ 1041598 h 7324285"/>
              <a:gd name="connsiteX7" fmla="*/ 3303659 w 6843846"/>
              <a:gd name="connsiteY7" fmla="*/ 6022 h 7324285"/>
              <a:gd name="connsiteX8" fmla="*/ 1206688 w 6843846"/>
              <a:gd name="connsiteY8" fmla="*/ 1512054 h 7324285"/>
              <a:gd name="connsiteX9" fmla="*/ 280117 w 6843846"/>
              <a:gd name="connsiteY9" fmla="*/ 3824178 h 7324285"/>
              <a:gd name="connsiteX10" fmla="*/ 52061 w 6843846"/>
              <a:gd name="connsiteY10" fmla="*/ 4352365 h 73242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843846" h="7324285">
                <a:moveTo>
                  <a:pt x="0" y="4452157"/>
                </a:moveTo>
                <a:lnTo>
                  <a:pt x="2771468" y="7324285"/>
                </a:lnTo>
                <a:lnTo>
                  <a:pt x="2845978" y="7275639"/>
                </a:lnTo>
                <a:cubicBezTo>
                  <a:pt x="3188198" y="7060895"/>
                  <a:pt x="3558251" y="6876407"/>
                  <a:pt x="3908943" y="6687077"/>
                </a:cubicBezTo>
                <a:cubicBezTo>
                  <a:pt x="4591678" y="6319892"/>
                  <a:pt x="5283018" y="5941231"/>
                  <a:pt x="5845271" y="5401928"/>
                </a:cubicBezTo>
                <a:cubicBezTo>
                  <a:pt x="6404657" y="4865492"/>
                  <a:pt x="6832081" y="4139728"/>
                  <a:pt x="6843556" y="3362326"/>
                </a:cubicBezTo>
                <a:cubicBezTo>
                  <a:pt x="6857901" y="2473049"/>
                  <a:pt x="6338676" y="1655486"/>
                  <a:pt x="5696101" y="1041598"/>
                </a:cubicBezTo>
                <a:cubicBezTo>
                  <a:pt x="5047790" y="424843"/>
                  <a:pt x="4195807" y="-59958"/>
                  <a:pt x="3303659" y="6022"/>
                </a:cubicBezTo>
                <a:cubicBezTo>
                  <a:pt x="2236526" y="86344"/>
                  <a:pt x="1636983" y="703099"/>
                  <a:pt x="1206688" y="1512054"/>
                </a:cubicBezTo>
                <a:cubicBezTo>
                  <a:pt x="816553" y="2246428"/>
                  <a:pt x="592799" y="3058251"/>
                  <a:pt x="280117" y="3824178"/>
                </a:cubicBezTo>
                <a:cubicBezTo>
                  <a:pt x="209836" y="3996296"/>
                  <a:pt x="135969" y="4177020"/>
                  <a:pt x="52061" y="4352365"/>
                </a:cubicBezTo>
                <a:close/>
              </a:path>
            </a:pathLst>
          </a:custGeom>
          <a:solidFill>
            <a:schemeClr val="accent4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D788710F-8CAB-41BF-8F3C-AF0E31E87B9C}"/>
              </a:ext>
            </a:extLst>
          </p:cNvPr>
          <p:cNvGrpSpPr/>
          <p:nvPr/>
        </p:nvGrpSpPr>
        <p:grpSpPr>
          <a:xfrm rot="16200000">
            <a:off x="797214" y="-332152"/>
            <a:ext cx="208395" cy="1314681"/>
            <a:chOff x="243840" y="162560"/>
            <a:chExt cx="325120" cy="2051050"/>
          </a:xfrm>
        </p:grpSpPr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77F11BEF-1299-46A7-BD8C-053A25A08847}"/>
                </a:ext>
              </a:extLst>
            </p:cNvPr>
            <p:cNvSpPr/>
            <p:nvPr/>
          </p:nvSpPr>
          <p:spPr>
            <a:xfrm>
              <a:off x="243840" y="162560"/>
              <a:ext cx="325120" cy="1097280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Rectangle: Rounded Corners 26">
              <a:extLst>
                <a:ext uri="{FF2B5EF4-FFF2-40B4-BE49-F238E27FC236}">
                  <a16:creationId xmlns:a16="http://schemas.microsoft.com/office/drawing/2014/main" id="{458EAE67-3F44-48A9-A76D-746D5EB6D69F}"/>
                </a:ext>
              </a:extLst>
            </p:cNvPr>
            <p:cNvSpPr/>
            <p:nvPr/>
          </p:nvSpPr>
          <p:spPr>
            <a:xfrm>
              <a:off x="243840" y="1324610"/>
              <a:ext cx="325120" cy="508000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388E3019-F71A-41F6-B2E9-E2923181877B}"/>
                </a:ext>
              </a:extLst>
            </p:cNvPr>
            <p:cNvSpPr/>
            <p:nvPr/>
          </p:nvSpPr>
          <p:spPr>
            <a:xfrm>
              <a:off x="243840" y="1897380"/>
              <a:ext cx="325120" cy="316230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3" name="TextBox 22">
            <a:extLst>
              <a:ext uri="{FF2B5EF4-FFF2-40B4-BE49-F238E27FC236}">
                <a16:creationId xmlns:a16="http://schemas.microsoft.com/office/drawing/2014/main" id="{FCB92AFC-C5D7-4F05-8379-CA3942B2514D}"/>
              </a:ext>
            </a:extLst>
          </p:cNvPr>
          <p:cNvSpPr txBox="1"/>
          <p:nvPr/>
        </p:nvSpPr>
        <p:spPr>
          <a:xfrm>
            <a:off x="1558752" y="103865"/>
            <a:ext cx="600845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i="1" dirty="0">
                <a:latin typeface="Segoe UI" panose="020B0502040204020203" pitchFamily="34" charset="0"/>
                <a:cs typeface="Segoe UI" panose="020B0502040204020203" pitchFamily="34" charset="0"/>
              </a:rPr>
              <a:t>Create </a:t>
            </a:r>
            <a:r>
              <a:rPr lang="en-US" sz="2800" b="1" i="1" dirty="0">
                <a:solidFill>
                  <a:schemeClr val="accent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act &amp; Dimension </a:t>
            </a:r>
            <a:r>
              <a:rPr lang="en-US" sz="2800" b="1" i="1" dirty="0">
                <a:latin typeface="Segoe UI" panose="020B0502040204020203" pitchFamily="34" charset="0"/>
                <a:cs typeface="Segoe UI" panose="020B0502040204020203" pitchFamily="34" charset="0"/>
              </a:rPr>
              <a:t>table</a:t>
            </a:r>
            <a:endParaRPr lang="id-ID" sz="2800" b="1" i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DE7EE997-D0FD-4378-8B02-6BC63EB64DF6}"/>
              </a:ext>
            </a:extLst>
          </p:cNvPr>
          <p:cNvGrpSpPr/>
          <p:nvPr/>
        </p:nvGrpSpPr>
        <p:grpSpPr>
          <a:xfrm rot="2588127">
            <a:off x="3473282" y="221972"/>
            <a:ext cx="2856638" cy="2152891"/>
            <a:chOff x="2314574" y="1065284"/>
            <a:chExt cx="5901268" cy="4578797"/>
          </a:xfrm>
          <a:solidFill>
            <a:schemeClr val="accent1">
              <a:alpha val="24000"/>
            </a:schemeClr>
          </a:solidFill>
        </p:grpSpPr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90696B28-AF17-46C4-B6D5-FC366D17F8B3}"/>
                </a:ext>
              </a:extLst>
            </p:cNvPr>
            <p:cNvSpPr/>
            <p:nvPr/>
          </p:nvSpPr>
          <p:spPr>
            <a:xfrm>
              <a:off x="2314574" y="2422528"/>
              <a:ext cx="1648882" cy="16488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73AF30F6-ED2C-44B5-B59C-A74A0BF7635A}"/>
                </a:ext>
              </a:extLst>
            </p:cNvPr>
            <p:cNvSpPr/>
            <p:nvPr/>
          </p:nvSpPr>
          <p:spPr>
            <a:xfrm>
              <a:off x="6566960" y="3870328"/>
              <a:ext cx="1648882" cy="16488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13BBC031-B64D-418B-9FD3-478F3785B183}"/>
                </a:ext>
              </a:extLst>
            </p:cNvPr>
            <p:cNvSpPr/>
            <p:nvPr/>
          </p:nvSpPr>
          <p:spPr>
            <a:xfrm>
              <a:off x="4672082" y="3012617"/>
              <a:ext cx="1052902" cy="10529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6BFD6930-08E1-4C0D-8A3B-9BE2160D13B2}"/>
                </a:ext>
              </a:extLst>
            </p:cNvPr>
            <p:cNvSpPr/>
            <p:nvPr/>
          </p:nvSpPr>
          <p:spPr>
            <a:xfrm>
              <a:off x="5569549" y="1065284"/>
              <a:ext cx="1052902" cy="10529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3ABBB2ED-4571-4873-AEDA-B31664520213}"/>
                </a:ext>
              </a:extLst>
            </p:cNvPr>
            <p:cNvSpPr/>
            <p:nvPr/>
          </p:nvSpPr>
          <p:spPr>
            <a:xfrm>
              <a:off x="4205707" y="2114441"/>
              <a:ext cx="546318" cy="546318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6028FCDB-DD0D-4491-BEF8-363C8FE2D024}"/>
                </a:ext>
              </a:extLst>
            </p:cNvPr>
            <p:cNvSpPr/>
            <p:nvPr/>
          </p:nvSpPr>
          <p:spPr>
            <a:xfrm>
              <a:off x="6415508" y="2901841"/>
              <a:ext cx="546318" cy="546318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948847E4-7B03-4C25-A2B4-6D07864D5B24}"/>
                </a:ext>
              </a:extLst>
            </p:cNvPr>
            <p:cNvSpPr/>
            <p:nvPr/>
          </p:nvSpPr>
          <p:spPr>
            <a:xfrm>
              <a:off x="5560377" y="4760275"/>
              <a:ext cx="546318" cy="546318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1EA5810A-DAD9-4CCA-AA35-43CA29DA3358}"/>
                </a:ext>
              </a:extLst>
            </p:cNvPr>
            <p:cNvSpPr/>
            <p:nvPr/>
          </p:nvSpPr>
          <p:spPr>
            <a:xfrm>
              <a:off x="3629975" y="4057542"/>
              <a:ext cx="546318" cy="546318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CCE94094-64D8-4409-9EF0-85F4B70045FF}"/>
                </a:ext>
              </a:extLst>
            </p:cNvPr>
            <p:cNvSpPr/>
            <p:nvPr/>
          </p:nvSpPr>
          <p:spPr>
            <a:xfrm>
              <a:off x="4577305" y="5457841"/>
              <a:ext cx="186242" cy="18624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4F06235B-A907-4CEB-AE68-D7557B9D9CCF}"/>
                </a:ext>
              </a:extLst>
            </p:cNvPr>
            <p:cNvSpPr/>
            <p:nvPr/>
          </p:nvSpPr>
          <p:spPr>
            <a:xfrm>
              <a:off x="4865891" y="4391042"/>
              <a:ext cx="186242" cy="18624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CEAF7B65-FD7C-4E12-BCA3-45F78E2DB602}"/>
                </a:ext>
              </a:extLst>
            </p:cNvPr>
            <p:cNvSpPr/>
            <p:nvPr/>
          </p:nvSpPr>
          <p:spPr>
            <a:xfrm>
              <a:off x="6172772" y="3856581"/>
              <a:ext cx="186242" cy="18624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1A74E6DD-4B95-479D-A0DF-22D63D0561C8}"/>
                </a:ext>
              </a:extLst>
            </p:cNvPr>
            <p:cNvSpPr/>
            <p:nvPr/>
          </p:nvSpPr>
          <p:spPr>
            <a:xfrm>
              <a:off x="5482382" y="2318823"/>
              <a:ext cx="186242" cy="18624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</p:grpSp>
      <p:pic>
        <p:nvPicPr>
          <p:cNvPr id="48" name="Gambar 47">
            <a:extLst>
              <a:ext uri="{FF2B5EF4-FFF2-40B4-BE49-F238E27FC236}">
                <a16:creationId xmlns:a16="http://schemas.microsoft.com/office/drawing/2014/main" id="{6ED43E54-5318-137E-C7F9-256C8F464BC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4834" y="2592214"/>
            <a:ext cx="2558584" cy="1071944"/>
          </a:xfrm>
          <a:prstGeom prst="rect">
            <a:avLst/>
          </a:prstGeom>
        </p:spPr>
      </p:pic>
      <p:sp>
        <p:nvSpPr>
          <p:cNvPr id="49" name="Rectangle 25">
            <a:extLst>
              <a:ext uri="{FF2B5EF4-FFF2-40B4-BE49-F238E27FC236}">
                <a16:creationId xmlns:a16="http://schemas.microsoft.com/office/drawing/2014/main" id="{6CC48ADB-ABF0-EF61-6D73-B671098143D8}"/>
              </a:ext>
            </a:extLst>
          </p:cNvPr>
          <p:cNvSpPr/>
          <p:nvPr/>
        </p:nvSpPr>
        <p:spPr>
          <a:xfrm>
            <a:off x="161037" y="6374139"/>
            <a:ext cx="1671091" cy="2965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sz="1200" b="1" dirty="0">
                <a:solidFill>
                  <a:schemeClr val="tx2">
                    <a:lumMod val="50000"/>
                  </a:schemeClr>
                </a:solidFill>
                <a:latin typeface="Montserrat" panose="00000500000000000000" pitchFamily="50" charset="0"/>
                <a:cs typeface="Segoe UI" panose="020B0502040204020203" pitchFamily="34" charset="0"/>
              </a:rPr>
              <a:t>#AYOPAKAIDATA</a:t>
            </a:r>
          </a:p>
        </p:txBody>
      </p:sp>
      <p:pic>
        <p:nvPicPr>
          <p:cNvPr id="50" name="Gambar 49">
            <a:extLst>
              <a:ext uri="{FF2B5EF4-FFF2-40B4-BE49-F238E27FC236}">
                <a16:creationId xmlns:a16="http://schemas.microsoft.com/office/drawing/2014/main" id="{D892B5AC-7EC2-7ACF-7EDD-95BC9D856B7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82950" y="1528215"/>
            <a:ext cx="2747208" cy="3879224"/>
          </a:xfrm>
          <a:prstGeom prst="rect">
            <a:avLst/>
          </a:prstGeom>
        </p:spPr>
      </p:pic>
      <p:pic>
        <p:nvPicPr>
          <p:cNvPr id="51" name="Gambar 50">
            <a:extLst>
              <a:ext uri="{FF2B5EF4-FFF2-40B4-BE49-F238E27FC236}">
                <a16:creationId xmlns:a16="http://schemas.microsoft.com/office/drawing/2014/main" id="{E57CFC58-5184-8AE0-B10D-8690A94932B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49671" y="601066"/>
            <a:ext cx="2740199" cy="4833216"/>
          </a:xfrm>
          <a:prstGeom prst="rect">
            <a:avLst/>
          </a:prstGeom>
        </p:spPr>
      </p:pic>
      <p:pic>
        <p:nvPicPr>
          <p:cNvPr id="52" name="Gambar 51">
            <a:extLst>
              <a:ext uri="{FF2B5EF4-FFF2-40B4-BE49-F238E27FC236}">
                <a16:creationId xmlns:a16="http://schemas.microsoft.com/office/drawing/2014/main" id="{BA01551A-5763-5CA6-C7E4-03841206DB1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40370" y="613621"/>
            <a:ext cx="2886218" cy="4833216"/>
          </a:xfrm>
          <a:prstGeom prst="rect">
            <a:avLst/>
          </a:prstGeom>
        </p:spPr>
      </p:pic>
      <p:sp>
        <p:nvSpPr>
          <p:cNvPr id="3" name="Kotak Teks 2">
            <a:extLst>
              <a:ext uri="{FF2B5EF4-FFF2-40B4-BE49-F238E27FC236}">
                <a16:creationId xmlns:a16="http://schemas.microsoft.com/office/drawing/2014/main" id="{E5B906A4-4A14-8087-E0A0-05E253DF87A3}"/>
              </a:ext>
            </a:extLst>
          </p:cNvPr>
          <p:cNvSpPr txBox="1"/>
          <p:nvPr/>
        </p:nvSpPr>
        <p:spPr>
          <a:xfrm>
            <a:off x="9138" y="3678236"/>
            <a:ext cx="305820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d-ID" sz="1400" dirty="0" err="1"/>
              <a:t>Postgres</a:t>
            </a:r>
            <a:r>
              <a:rPr lang="id-ID" sz="1400" dirty="0"/>
              <a:t> operator untuk </a:t>
            </a:r>
            <a:r>
              <a:rPr lang="id-ID" sz="1400" dirty="0" err="1"/>
              <a:t>merunning</a:t>
            </a:r>
            <a:r>
              <a:rPr lang="id-ID" sz="1400" dirty="0"/>
              <a:t> </a:t>
            </a:r>
            <a:r>
              <a:rPr lang="id-ID" sz="1400" dirty="0" err="1"/>
              <a:t>ddl</a:t>
            </a:r>
            <a:endParaRPr lang="id-ID" sz="1400" dirty="0"/>
          </a:p>
        </p:txBody>
      </p:sp>
      <p:sp>
        <p:nvSpPr>
          <p:cNvPr id="53" name="Kotak Teks 52">
            <a:extLst>
              <a:ext uri="{FF2B5EF4-FFF2-40B4-BE49-F238E27FC236}">
                <a16:creationId xmlns:a16="http://schemas.microsoft.com/office/drawing/2014/main" id="{7D09A0BA-9B10-BB59-FF06-77DC8CCFF72A}"/>
              </a:ext>
            </a:extLst>
          </p:cNvPr>
          <p:cNvSpPr txBox="1"/>
          <p:nvPr/>
        </p:nvSpPr>
        <p:spPr>
          <a:xfrm>
            <a:off x="3823352" y="5446837"/>
            <a:ext cx="13767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d-ID" sz="1400" dirty="0" err="1"/>
              <a:t>Dimension</a:t>
            </a:r>
            <a:r>
              <a:rPr lang="id-ID" sz="1400" dirty="0"/>
              <a:t> </a:t>
            </a:r>
            <a:r>
              <a:rPr lang="id-ID" sz="1400" dirty="0" err="1"/>
              <a:t>table</a:t>
            </a:r>
            <a:endParaRPr lang="id-ID" sz="1400" dirty="0"/>
          </a:p>
        </p:txBody>
      </p:sp>
      <p:sp>
        <p:nvSpPr>
          <p:cNvPr id="54" name="Kotak Teks 53">
            <a:extLst>
              <a:ext uri="{FF2B5EF4-FFF2-40B4-BE49-F238E27FC236}">
                <a16:creationId xmlns:a16="http://schemas.microsoft.com/office/drawing/2014/main" id="{978C7510-6248-5E24-4AAE-29FC27F53B3B}"/>
              </a:ext>
            </a:extLst>
          </p:cNvPr>
          <p:cNvSpPr txBox="1"/>
          <p:nvPr/>
        </p:nvSpPr>
        <p:spPr>
          <a:xfrm>
            <a:off x="8770982" y="5566376"/>
            <a:ext cx="911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d-ID" sz="1400" dirty="0" err="1">
                <a:solidFill>
                  <a:schemeClr val="bg1"/>
                </a:solidFill>
              </a:rPr>
              <a:t>Fact</a:t>
            </a:r>
            <a:r>
              <a:rPr lang="id-ID" sz="1400" dirty="0">
                <a:solidFill>
                  <a:schemeClr val="bg1"/>
                </a:solidFill>
              </a:rPr>
              <a:t> </a:t>
            </a:r>
            <a:r>
              <a:rPr lang="id-ID" sz="1400" dirty="0" err="1">
                <a:solidFill>
                  <a:schemeClr val="bg1"/>
                </a:solidFill>
              </a:rPr>
              <a:t>Table</a:t>
            </a:r>
            <a:endParaRPr lang="id-ID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1060668"/>
      </p:ext>
    </p:extLst>
  </p:cSld>
  <p:clrMapOvr>
    <a:masterClrMapping/>
  </p:clrMapOvr>
  <p:transition spd="slow">
    <p:wip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50F79F6A-4ABA-4B09-92D1-5372390A0D7A}"/>
              </a:ext>
            </a:extLst>
          </p:cNvPr>
          <p:cNvSpPr/>
          <p:nvPr/>
        </p:nvSpPr>
        <p:spPr>
          <a:xfrm rot="1301368" flipV="1">
            <a:off x="-942759" y="-774519"/>
            <a:ext cx="8288291" cy="7877454"/>
          </a:xfrm>
          <a:custGeom>
            <a:avLst/>
            <a:gdLst>
              <a:gd name="connsiteX0" fmla="*/ 0 w 8288291"/>
              <a:gd name="connsiteY0" fmla="*/ 5695755 h 7877454"/>
              <a:gd name="connsiteX1" fmla="*/ 5485302 w 8288291"/>
              <a:gd name="connsiteY1" fmla="*/ 7877454 h 7877454"/>
              <a:gd name="connsiteX2" fmla="*/ 5564324 w 8288291"/>
              <a:gd name="connsiteY2" fmla="*/ 7821379 h 7877454"/>
              <a:gd name="connsiteX3" fmla="*/ 5670644 w 8288291"/>
              <a:gd name="connsiteY3" fmla="*/ 7713009 h 7877454"/>
              <a:gd name="connsiteX4" fmla="*/ 5710268 w 8288291"/>
              <a:gd name="connsiteY4" fmla="*/ 6466292 h 7877454"/>
              <a:gd name="connsiteX5" fmla="*/ 5623811 w 8288291"/>
              <a:gd name="connsiteY5" fmla="*/ 6034976 h 7877454"/>
              <a:gd name="connsiteX6" fmla="*/ 6808989 w 8288291"/>
              <a:gd name="connsiteY6" fmla="*/ 2427045 h 7877454"/>
              <a:gd name="connsiteX7" fmla="*/ 8095029 w 8288291"/>
              <a:gd name="connsiteY7" fmla="*/ 1721830 h 7877454"/>
              <a:gd name="connsiteX8" fmla="*/ 8288291 w 8288291"/>
              <a:gd name="connsiteY8" fmla="*/ 1611764 h 7877454"/>
              <a:gd name="connsiteX9" fmla="*/ 4235938 w 8288291"/>
              <a:gd name="connsiteY9" fmla="*/ 0 h 7877454"/>
              <a:gd name="connsiteX10" fmla="*/ 4151776 w 8288291"/>
              <a:gd name="connsiteY10" fmla="*/ 35752 h 7877454"/>
              <a:gd name="connsiteX11" fmla="*/ 3566863 w 8288291"/>
              <a:gd name="connsiteY11" fmla="*/ 364919 h 7877454"/>
              <a:gd name="connsiteX12" fmla="*/ 2014249 w 8288291"/>
              <a:gd name="connsiteY12" fmla="*/ 2584460 h 7877454"/>
              <a:gd name="connsiteX13" fmla="*/ 672160 w 8288291"/>
              <a:gd name="connsiteY13" fmla="*/ 4435735 h 7877454"/>
              <a:gd name="connsiteX14" fmla="*/ 420179 w 8288291"/>
              <a:gd name="connsiteY14" fmla="*/ 4639328 h 7877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8288291" h="7877454">
                <a:moveTo>
                  <a:pt x="0" y="5695755"/>
                </a:moveTo>
                <a:lnTo>
                  <a:pt x="5485302" y="7877454"/>
                </a:lnTo>
                <a:lnTo>
                  <a:pt x="5564324" y="7821379"/>
                </a:lnTo>
                <a:cubicBezTo>
                  <a:pt x="5603043" y="7788716"/>
                  <a:pt x="5638673" y="7752756"/>
                  <a:pt x="5670644" y="7713009"/>
                </a:cubicBezTo>
                <a:cubicBezTo>
                  <a:pt x="5951628" y="7363551"/>
                  <a:pt x="5814739" y="6885012"/>
                  <a:pt x="5710268" y="6466292"/>
                </a:cubicBezTo>
                <a:cubicBezTo>
                  <a:pt x="5674244" y="6324618"/>
                  <a:pt x="5645426" y="6179797"/>
                  <a:pt x="5623811" y="6034976"/>
                </a:cubicBezTo>
                <a:cubicBezTo>
                  <a:pt x="5436489" y="4838630"/>
                  <a:pt x="5656231" y="3236152"/>
                  <a:pt x="6808989" y="2427045"/>
                </a:cubicBezTo>
                <a:cubicBezTo>
                  <a:pt x="7205248" y="2153143"/>
                  <a:pt x="7662746" y="1951653"/>
                  <a:pt x="8095029" y="1721830"/>
                </a:cubicBezTo>
                <a:lnTo>
                  <a:pt x="8288291" y="1611764"/>
                </a:lnTo>
                <a:lnTo>
                  <a:pt x="4235938" y="0"/>
                </a:lnTo>
                <a:lnTo>
                  <a:pt x="4151776" y="35752"/>
                </a:lnTo>
                <a:cubicBezTo>
                  <a:pt x="3945787" y="129537"/>
                  <a:pt x="3749233" y="238595"/>
                  <a:pt x="3566863" y="364919"/>
                </a:cubicBezTo>
                <a:cubicBezTo>
                  <a:pt x="2806768" y="890684"/>
                  <a:pt x="2223186" y="1762756"/>
                  <a:pt x="2014249" y="2584460"/>
                </a:cubicBezTo>
                <a:cubicBezTo>
                  <a:pt x="1822875" y="3336112"/>
                  <a:pt x="1288150" y="3916822"/>
                  <a:pt x="672160" y="4435735"/>
                </a:cubicBezTo>
                <a:lnTo>
                  <a:pt x="420179" y="4639328"/>
                </a:lnTo>
                <a:close/>
              </a:path>
            </a:pathLst>
          </a:custGeom>
          <a:solidFill>
            <a:schemeClr val="accent4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F35BD0CB-3015-414F-9D5D-36C73799E6A4}"/>
              </a:ext>
            </a:extLst>
          </p:cNvPr>
          <p:cNvGrpSpPr/>
          <p:nvPr/>
        </p:nvGrpSpPr>
        <p:grpSpPr>
          <a:xfrm rot="10800000">
            <a:off x="11739534" y="5342648"/>
            <a:ext cx="208395" cy="1314681"/>
            <a:chOff x="243840" y="162560"/>
            <a:chExt cx="325120" cy="2051050"/>
          </a:xfrm>
        </p:grpSpPr>
        <p:sp>
          <p:nvSpPr>
            <p:cNvPr id="35" name="Rectangle: Rounded Corners 34">
              <a:extLst>
                <a:ext uri="{FF2B5EF4-FFF2-40B4-BE49-F238E27FC236}">
                  <a16:creationId xmlns:a16="http://schemas.microsoft.com/office/drawing/2014/main" id="{55E4D68F-EE15-41A6-A13C-01074960014A}"/>
                </a:ext>
              </a:extLst>
            </p:cNvPr>
            <p:cNvSpPr/>
            <p:nvPr/>
          </p:nvSpPr>
          <p:spPr>
            <a:xfrm>
              <a:off x="243840" y="162560"/>
              <a:ext cx="325120" cy="1097280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" name="Rectangle: Rounded Corners 35">
              <a:extLst>
                <a:ext uri="{FF2B5EF4-FFF2-40B4-BE49-F238E27FC236}">
                  <a16:creationId xmlns:a16="http://schemas.microsoft.com/office/drawing/2014/main" id="{29C559BB-D5A6-49CB-A138-66AF8DD06E9C}"/>
                </a:ext>
              </a:extLst>
            </p:cNvPr>
            <p:cNvSpPr/>
            <p:nvPr/>
          </p:nvSpPr>
          <p:spPr>
            <a:xfrm>
              <a:off x="243840" y="1324610"/>
              <a:ext cx="325120" cy="508000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" name="Rectangle: Rounded Corners 36">
              <a:extLst>
                <a:ext uri="{FF2B5EF4-FFF2-40B4-BE49-F238E27FC236}">
                  <a16:creationId xmlns:a16="http://schemas.microsoft.com/office/drawing/2014/main" id="{DCD344E4-3ABC-46F4-A6F9-2DF24AD59565}"/>
                </a:ext>
              </a:extLst>
            </p:cNvPr>
            <p:cNvSpPr/>
            <p:nvPr/>
          </p:nvSpPr>
          <p:spPr>
            <a:xfrm>
              <a:off x="243840" y="1897380"/>
              <a:ext cx="325120" cy="316230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F634075E-42A6-44C2-9FF4-B63F9338B833}"/>
              </a:ext>
            </a:extLst>
          </p:cNvPr>
          <p:cNvSpPr txBox="1"/>
          <p:nvPr/>
        </p:nvSpPr>
        <p:spPr>
          <a:xfrm>
            <a:off x="6917923" y="0"/>
            <a:ext cx="531107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i="1" dirty="0">
                <a:latin typeface="Segoe UI" panose="020B0502040204020203" pitchFamily="34" charset="0"/>
                <a:cs typeface="Segoe UI" panose="020B0502040204020203" pitchFamily="34" charset="0"/>
              </a:rPr>
              <a:t>Insert into </a:t>
            </a:r>
            <a:r>
              <a:rPr lang="en-US" sz="2800" b="1" i="1" dirty="0">
                <a:solidFill>
                  <a:schemeClr val="accent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imension table</a:t>
            </a:r>
            <a:endParaRPr lang="id-ID" sz="2800" b="1" i="1" dirty="0">
              <a:solidFill>
                <a:schemeClr val="accent4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9" name="Rectangle 25">
            <a:extLst>
              <a:ext uri="{FF2B5EF4-FFF2-40B4-BE49-F238E27FC236}">
                <a16:creationId xmlns:a16="http://schemas.microsoft.com/office/drawing/2014/main" id="{09AE99C5-6B5F-F861-5BAE-824886A14BE8}"/>
              </a:ext>
            </a:extLst>
          </p:cNvPr>
          <p:cNvSpPr/>
          <p:nvPr/>
        </p:nvSpPr>
        <p:spPr>
          <a:xfrm>
            <a:off x="161037" y="6374139"/>
            <a:ext cx="1671091" cy="2965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sz="1200" b="1" dirty="0">
                <a:solidFill>
                  <a:schemeClr val="tx2">
                    <a:lumMod val="50000"/>
                  </a:schemeClr>
                </a:solidFill>
                <a:latin typeface="Montserrat" panose="00000500000000000000" pitchFamily="50" charset="0"/>
                <a:cs typeface="Segoe UI" panose="020B0502040204020203" pitchFamily="34" charset="0"/>
              </a:rPr>
              <a:t>#AYOPAKAIDATA</a:t>
            </a:r>
          </a:p>
        </p:txBody>
      </p:sp>
      <p:pic>
        <p:nvPicPr>
          <p:cNvPr id="50" name="Gambar 49">
            <a:extLst>
              <a:ext uri="{FF2B5EF4-FFF2-40B4-BE49-F238E27FC236}">
                <a16:creationId xmlns:a16="http://schemas.microsoft.com/office/drawing/2014/main" id="{A04694A6-582A-4BCF-1DA6-ED60145C311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861699"/>
            <a:ext cx="3101609" cy="3215919"/>
          </a:xfrm>
          <a:prstGeom prst="rect">
            <a:avLst/>
          </a:prstGeom>
        </p:spPr>
      </p:pic>
      <p:pic>
        <p:nvPicPr>
          <p:cNvPr id="51" name="Gambar 50">
            <a:extLst>
              <a:ext uri="{FF2B5EF4-FFF2-40B4-BE49-F238E27FC236}">
                <a16:creationId xmlns:a16="http://schemas.microsoft.com/office/drawing/2014/main" id="{4D7FE81A-AB86-8599-1029-28FCDA2334E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34716" y="792763"/>
            <a:ext cx="7404818" cy="2262277"/>
          </a:xfrm>
          <a:prstGeom prst="rect">
            <a:avLst/>
          </a:prstGeom>
        </p:spPr>
      </p:pic>
      <p:pic>
        <p:nvPicPr>
          <p:cNvPr id="52" name="Gambar 51">
            <a:extLst>
              <a:ext uri="{FF2B5EF4-FFF2-40B4-BE49-F238E27FC236}">
                <a16:creationId xmlns:a16="http://schemas.microsoft.com/office/drawing/2014/main" id="{2A7446EB-454E-F741-8633-FC13032812E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79271" y="3952594"/>
            <a:ext cx="2751058" cy="1752752"/>
          </a:xfrm>
          <a:prstGeom prst="rect">
            <a:avLst/>
          </a:prstGeom>
        </p:spPr>
      </p:pic>
      <p:pic>
        <p:nvPicPr>
          <p:cNvPr id="53" name="Gambar 52">
            <a:extLst>
              <a:ext uri="{FF2B5EF4-FFF2-40B4-BE49-F238E27FC236}">
                <a16:creationId xmlns:a16="http://schemas.microsoft.com/office/drawing/2014/main" id="{B2459D82-F8BB-008A-7C11-606D8FAC9AF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94290" y="3843072"/>
            <a:ext cx="2720576" cy="2110923"/>
          </a:xfrm>
          <a:prstGeom prst="rect">
            <a:avLst/>
          </a:prstGeom>
        </p:spPr>
      </p:pic>
      <p:sp>
        <p:nvSpPr>
          <p:cNvPr id="54" name="Panah: Kanan 53">
            <a:extLst>
              <a:ext uri="{FF2B5EF4-FFF2-40B4-BE49-F238E27FC236}">
                <a16:creationId xmlns:a16="http://schemas.microsoft.com/office/drawing/2014/main" id="{67AD28DB-30CF-B94F-2A92-90F782427BED}"/>
              </a:ext>
            </a:extLst>
          </p:cNvPr>
          <p:cNvSpPr/>
          <p:nvPr/>
        </p:nvSpPr>
        <p:spPr>
          <a:xfrm>
            <a:off x="3174980" y="2806269"/>
            <a:ext cx="1025004" cy="132677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55" name="Kotak Teks 54">
            <a:extLst>
              <a:ext uri="{FF2B5EF4-FFF2-40B4-BE49-F238E27FC236}">
                <a16:creationId xmlns:a16="http://schemas.microsoft.com/office/drawing/2014/main" id="{C15178E8-2FEB-4DA6-262F-49A0684B7F37}"/>
              </a:ext>
            </a:extLst>
          </p:cNvPr>
          <p:cNvSpPr txBox="1"/>
          <p:nvPr/>
        </p:nvSpPr>
        <p:spPr>
          <a:xfrm>
            <a:off x="43400" y="5136219"/>
            <a:ext cx="306442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d-ID" sz="1400" dirty="0" err="1"/>
              <a:t>Postgres</a:t>
            </a:r>
            <a:r>
              <a:rPr lang="id-ID" sz="1400" dirty="0"/>
              <a:t> o</a:t>
            </a:r>
            <a:r>
              <a:rPr lang="id-ID" sz="1400" dirty="0">
                <a:solidFill>
                  <a:schemeClr val="bg1"/>
                </a:solidFill>
              </a:rPr>
              <a:t>perator </a:t>
            </a:r>
            <a:r>
              <a:rPr lang="id-ID" sz="1400" dirty="0" err="1">
                <a:solidFill>
                  <a:schemeClr val="bg1"/>
                </a:solidFill>
              </a:rPr>
              <a:t>insert</a:t>
            </a:r>
            <a:r>
              <a:rPr lang="id-ID" sz="1400" dirty="0">
                <a:solidFill>
                  <a:schemeClr val="bg1"/>
                </a:solidFill>
              </a:rPr>
              <a:t> </a:t>
            </a:r>
            <a:r>
              <a:rPr lang="id-ID" sz="1400" dirty="0" err="1">
                <a:solidFill>
                  <a:schemeClr val="bg1"/>
                </a:solidFill>
              </a:rPr>
              <a:t>into</a:t>
            </a:r>
            <a:r>
              <a:rPr lang="id-ID" sz="1400" dirty="0">
                <a:solidFill>
                  <a:schemeClr val="bg1"/>
                </a:solidFill>
              </a:rPr>
              <a:t> </a:t>
            </a:r>
            <a:r>
              <a:rPr lang="id-ID" sz="1400" dirty="0" err="1">
                <a:solidFill>
                  <a:schemeClr val="bg1"/>
                </a:solidFill>
              </a:rPr>
              <a:t>dimention</a:t>
            </a:r>
            <a:endParaRPr lang="id-ID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2723304"/>
      </p:ext>
    </p:extLst>
  </p:cSld>
  <p:clrMapOvr>
    <a:masterClrMapping/>
  </p:clrMapOvr>
  <p:transition spd="slow">
    <p:wip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50F79F6A-4ABA-4B09-92D1-5372390A0D7A}"/>
              </a:ext>
            </a:extLst>
          </p:cNvPr>
          <p:cNvSpPr/>
          <p:nvPr/>
        </p:nvSpPr>
        <p:spPr>
          <a:xfrm rot="1301368" flipV="1">
            <a:off x="-942759" y="-774519"/>
            <a:ext cx="8288291" cy="7877454"/>
          </a:xfrm>
          <a:custGeom>
            <a:avLst/>
            <a:gdLst>
              <a:gd name="connsiteX0" fmla="*/ 0 w 8288291"/>
              <a:gd name="connsiteY0" fmla="*/ 5695755 h 7877454"/>
              <a:gd name="connsiteX1" fmla="*/ 5485302 w 8288291"/>
              <a:gd name="connsiteY1" fmla="*/ 7877454 h 7877454"/>
              <a:gd name="connsiteX2" fmla="*/ 5564324 w 8288291"/>
              <a:gd name="connsiteY2" fmla="*/ 7821379 h 7877454"/>
              <a:gd name="connsiteX3" fmla="*/ 5670644 w 8288291"/>
              <a:gd name="connsiteY3" fmla="*/ 7713009 h 7877454"/>
              <a:gd name="connsiteX4" fmla="*/ 5710268 w 8288291"/>
              <a:gd name="connsiteY4" fmla="*/ 6466292 h 7877454"/>
              <a:gd name="connsiteX5" fmla="*/ 5623811 w 8288291"/>
              <a:gd name="connsiteY5" fmla="*/ 6034976 h 7877454"/>
              <a:gd name="connsiteX6" fmla="*/ 6808989 w 8288291"/>
              <a:gd name="connsiteY6" fmla="*/ 2427045 h 7877454"/>
              <a:gd name="connsiteX7" fmla="*/ 8095029 w 8288291"/>
              <a:gd name="connsiteY7" fmla="*/ 1721830 h 7877454"/>
              <a:gd name="connsiteX8" fmla="*/ 8288291 w 8288291"/>
              <a:gd name="connsiteY8" fmla="*/ 1611764 h 7877454"/>
              <a:gd name="connsiteX9" fmla="*/ 4235938 w 8288291"/>
              <a:gd name="connsiteY9" fmla="*/ 0 h 7877454"/>
              <a:gd name="connsiteX10" fmla="*/ 4151776 w 8288291"/>
              <a:gd name="connsiteY10" fmla="*/ 35752 h 7877454"/>
              <a:gd name="connsiteX11" fmla="*/ 3566863 w 8288291"/>
              <a:gd name="connsiteY11" fmla="*/ 364919 h 7877454"/>
              <a:gd name="connsiteX12" fmla="*/ 2014249 w 8288291"/>
              <a:gd name="connsiteY12" fmla="*/ 2584460 h 7877454"/>
              <a:gd name="connsiteX13" fmla="*/ 672160 w 8288291"/>
              <a:gd name="connsiteY13" fmla="*/ 4435735 h 7877454"/>
              <a:gd name="connsiteX14" fmla="*/ 420179 w 8288291"/>
              <a:gd name="connsiteY14" fmla="*/ 4639328 h 7877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8288291" h="7877454">
                <a:moveTo>
                  <a:pt x="0" y="5695755"/>
                </a:moveTo>
                <a:lnTo>
                  <a:pt x="5485302" y="7877454"/>
                </a:lnTo>
                <a:lnTo>
                  <a:pt x="5564324" y="7821379"/>
                </a:lnTo>
                <a:cubicBezTo>
                  <a:pt x="5603043" y="7788716"/>
                  <a:pt x="5638673" y="7752756"/>
                  <a:pt x="5670644" y="7713009"/>
                </a:cubicBezTo>
                <a:cubicBezTo>
                  <a:pt x="5951628" y="7363551"/>
                  <a:pt x="5814739" y="6885012"/>
                  <a:pt x="5710268" y="6466292"/>
                </a:cubicBezTo>
                <a:cubicBezTo>
                  <a:pt x="5674244" y="6324618"/>
                  <a:pt x="5645426" y="6179797"/>
                  <a:pt x="5623811" y="6034976"/>
                </a:cubicBezTo>
                <a:cubicBezTo>
                  <a:pt x="5436489" y="4838630"/>
                  <a:pt x="5656231" y="3236152"/>
                  <a:pt x="6808989" y="2427045"/>
                </a:cubicBezTo>
                <a:cubicBezTo>
                  <a:pt x="7205248" y="2153143"/>
                  <a:pt x="7662746" y="1951653"/>
                  <a:pt x="8095029" y="1721830"/>
                </a:cubicBezTo>
                <a:lnTo>
                  <a:pt x="8288291" y="1611764"/>
                </a:lnTo>
                <a:lnTo>
                  <a:pt x="4235938" y="0"/>
                </a:lnTo>
                <a:lnTo>
                  <a:pt x="4151776" y="35752"/>
                </a:lnTo>
                <a:cubicBezTo>
                  <a:pt x="3945787" y="129537"/>
                  <a:pt x="3749233" y="238595"/>
                  <a:pt x="3566863" y="364919"/>
                </a:cubicBezTo>
                <a:cubicBezTo>
                  <a:pt x="2806768" y="890684"/>
                  <a:pt x="2223186" y="1762756"/>
                  <a:pt x="2014249" y="2584460"/>
                </a:cubicBezTo>
                <a:cubicBezTo>
                  <a:pt x="1822875" y="3336112"/>
                  <a:pt x="1288150" y="3916822"/>
                  <a:pt x="672160" y="4435735"/>
                </a:cubicBezTo>
                <a:lnTo>
                  <a:pt x="420179" y="4639328"/>
                </a:lnTo>
                <a:close/>
              </a:path>
            </a:pathLst>
          </a:custGeom>
          <a:solidFill>
            <a:schemeClr val="accent4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F35BD0CB-3015-414F-9D5D-36C73799E6A4}"/>
              </a:ext>
            </a:extLst>
          </p:cNvPr>
          <p:cNvGrpSpPr/>
          <p:nvPr/>
        </p:nvGrpSpPr>
        <p:grpSpPr>
          <a:xfrm rot="10800000">
            <a:off x="11739534" y="5342648"/>
            <a:ext cx="208395" cy="1314681"/>
            <a:chOff x="243840" y="162560"/>
            <a:chExt cx="325120" cy="2051050"/>
          </a:xfrm>
        </p:grpSpPr>
        <p:sp>
          <p:nvSpPr>
            <p:cNvPr id="35" name="Rectangle: Rounded Corners 34">
              <a:extLst>
                <a:ext uri="{FF2B5EF4-FFF2-40B4-BE49-F238E27FC236}">
                  <a16:creationId xmlns:a16="http://schemas.microsoft.com/office/drawing/2014/main" id="{55E4D68F-EE15-41A6-A13C-01074960014A}"/>
                </a:ext>
              </a:extLst>
            </p:cNvPr>
            <p:cNvSpPr/>
            <p:nvPr/>
          </p:nvSpPr>
          <p:spPr>
            <a:xfrm>
              <a:off x="243840" y="162560"/>
              <a:ext cx="325120" cy="1097280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" name="Rectangle: Rounded Corners 35">
              <a:extLst>
                <a:ext uri="{FF2B5EF4-FFF2-40B4-BE49-F238E27FC236}">
                  <a16:creationId xmlns:a16="http://schemas.microsoft.com/office/drawing/2014/main" id="{29C559BB-D5A6-49CB-A138-66AF8DD06E9C}"/>
                </a:ext>
              </a:extLst>
            </p:cNvPr>
            <p:cNvSpPr/>
            <p:nvPr/>
          </p:nvSpPr>
          <p:spPr>
            <a:xfrm>
              <a:off x="243840" y="1324610"/>
              <a:ext cx="325120" cy="508000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" name="Rectangle: Rounded Corners 36">
              <a:extLst>
                <a:ext uri="{FF2B5EF4-FFF2-40B4-BE49-F238E27FC236}">
                  <a16:creationId xmlns:a16="http://schemas.microsoft.com/office/drawing/2014/main" id="{DCD344E4-3ABC-46F4-A6F9-2DF24AD59565}"/>
                </a:ext>
              </a:extLst>
            </p:cNvPr>
            <p:cNvSpPr/>
            <p:nvPr/>
          </p:nvSpPr>
          <p:spPr>
            <a:xfrm>
              <a:off x="243840" y="1897380"/>
              <a:ext cx="325120" cy="316230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F634075E-42A6-44C2-9FF4-B63F9338B833}"/>
              </a:ext>
            </a:extLst>
          </p:cNvPr>
          <p:cNvSpPr txBox="1"/>
          <p:nvPr/>
        </p:nvSpPr>
        <p:spPr>
          <a:xfrm>
            <a:off x="6917923" y="0"/>
            <a:ext cx="531107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i="1" dirty="0">
                <a:latin typeface="Segoe UI" panose="020B0502040204020203" pitchFamily="34" charset="0"/>
                <a:cs typeface="Segoe UI" panose="020B0502040204020203" pitchFamily="34" charset="0"/>
              </a:rPr>
              <a:t>Aggregate into </a:t>
            </a:r>
            <a:r>
              <a:rPr lang="en-US" sz="2800" b="1" i="1" dirty="0">
                <a:solidFill>
                  <a:schemeClr val="accent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act table</a:t>
            </a:r>
            <a:endParaRPr lang="id-ID" sz="2800" b="1" i="1" dirty="0">
              <a:solidFill>
                <a:schemeClr val="accent4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9" name="Rectangle 25">
            <a:extLst>
              <a:ext uri="{FF2B5EF4-FFF2-40B4-BE49-F238E27FC236}">
                <a16:creationId xmlns:a16="http://schemas.microsoft.com/office/drawing/2014/main" id="{09AE99C5-6B5F-F861-5BAE-824886A14BE8}"/>
              </a:ext>
            </a:extLst>
          </p:cNvPr>
          <p:cNvSpPr/>
          <p:nvPr/>
        </p:nvSpPr>
        <p:spPr>
          <a:xfrm>
            <a:off x="161037" y="6374139"/>
            <a:ext cx="1671091" cy="2965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sz="1200" b="1" dirty="0">
                <a:solidFill>
                  <a:schemeClr val="tx2">
                    <a:lumMod val="50000"/>
                  </a:schemeClr>
                </a:solidFill>
                <a:latin typeface="Montserrat" panose="00000500000000000000" pitchFamily="50" charset="0"/>
                <a:cs typeface="Segoe UI" panose="020B0502040204020203" pitchFamily="34" charset="0"/>
              </a:rPr>
              <a:t>#AYOPAKAIDATA</a:t>
            </a:r>
          </a:p>
        </p:txBody>
      </p:sp>
      <p:sp>
        <p:nvSpPr>
          <p:cNvPr id="54" name="Panah: Kanan 53">
            <a:extLst>
              <a:ext uri="{FF2B5EF4-FFF2-40B4-BE49-F238E27FC236}">
                <a16:creationId xmlns:a16="http://schemas.microsoft.com/office/drawing/2014/main" id="{67AD28DB-30CF-B94F-2A92-90F782427BED}"/>
              </a:ext>
            </a:extLst>
          </p:cNvPr>
          <p:cNvSpPr/>
          <p:nvPr/>
        </p:nvSpPr>
        <p:spPr>
          <a:xfrm>
            <a:off x="4107960" y="2765611"/>
            <a:ext cx="1025004" cy="132677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pic>
        <p:nvPicPr>
          <p:cNvPr id="14" name="Gambar 13">
            <a:extLst>
              <a:ext uri="{FF2B5EF4-FFF2-40B4-BE49-F238E27FC236}">
                <a16:creationId xmlns:a16="http://schemas.microsoft.com/office/drawing/2014/main" id="{42AC4961-23EA-F841-1011-5EE45873F06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1037" y="2964138"/>
            <a:ext cx="3635055" cy="929721"/>
          </a:xfrm>
          <a:prstGeom prst="rect">
            <a:avLst/>
          </a:prstGeom>
        </p:spPr>
      </p:pic>
      <p:pic>
        <p:nvPicPr>
          <p:cNvPr id="15" name="Gambar 14">
            <a:extLst>
              <a:ext uri="{FF2B5EF4-FFF2-40B4-BE49-F238E27FC236}">
                <a16:creationId xmlns:a16="http://schemas.microsoft.com/office/drawing/2014/main" id="{3AF59FD9-2866-78D9-F301-025C7F84DD2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15799" y="1270320"/>
            <a:ext cx="6396287" cy="3787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895230"/>
      </p:ext>
    </p:extLst>
  </p:cSld>
  <p:clrMapOvr>
    <a:masterClrMapping/>
  </p:clrMapOvr>
  <p:transition spd="slow">
    <p:wip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AAF1850C-B134-4ADE-A82B-61D1799A604F}"/>
              </a:ext>
            </a:extLst>
          </p:cNvPr>
          <p:cNvSpPr/>
          <p:nvPr/>
        </p:nvSpPr>
        <p:spPr>
          <a:xfrm rot="7545963" flipV="1">
            <a:off x="1986062" y="843559"/>
            <a:ext cx="8580042" cy="10496256"/>
          </a:xfrm>
          <a:custGeom>
            <a:avLst/>
            <a:gdLst>
              <a:gd name="connsiteX0" fmla="*/ 587142 w 8580042"/>
              <a:gd name="connsiteY0" fmla="*/ 7140560 h 10496256"/>
              <a:gd name="connsiteX1" fmla="*/ 182254 w 8580042"/>
              <a:gd name="connsiteY1" fmla="*/ 7881736 h 10496256"/>
              <a:gd name="connsiteX2" fmla="*/ 63739 w 8580042"/>
              <a:gd name="connsiteY2" fmla="*/ 9488331 h 10496256"/>
              <a:gd name="connsiteX3" fmla="*/ 65906 w 8580042"/>
              <a:gd name="connsiteY3" fmla="*/ 9496310 h 10496256"/>
              <a:gd name="connsiteX4" fmla="*/ 1454099 w 8580042"/>
              <a:gd name="connsiteY4" fmla="*/ 10496256 h 10496256"/>
              <a:gd name="connsiteX5" fmla="*/ 8580042 w 8580042"/>
              <a:gd name="connsiteY5" fmla="*/ 603542 h 10496256"/>
              <a:gd name="connsiteX6" fmla="*/ 7742164 w 8580042"/>
              <a:gd name="connsiteY6" fmla="*/ 0 h 10496256"/>
              <a:gd name="connsiteX7" fmla="*/ 7637552 w 8580042"/>
              <a:gd name="connsiteY7" fmla="*/ 15185 h 10496256"/>
              <a:gd name="connsiteX8" fmla="*/ 6775520 w 8580042"/>
              <a:gd name="connsiteY8" fmla="*/ 198376 h 10496256"/>
              <a:gd name="connsiteX9" fmla="*/ 5247408 w 8580042"/>
              <a:gd name="connsiteY9" fmla="*/ 909737 h 10496256"/>
              <a:gd name="connsiteX10" fmla="*/ 3827981 w 8580042"/>
              <a:gd name="connsiteY10" fmla="*/ 3231542 h 10496256"/>
              <a:gd name="connsiteX11" fmla="*/ 1558870 w 8580042"/>
              <a:gd name="connsiteY11" fmla="*/ 6100041 h 10496256"/>
              <a:gd name="connsiteX12" fmla="*/ 587142 w 8580042"/>
              <a:gd name="connsiteY12" fmla="*/ 7140560 h 104962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580042" h="10496256">
                <a:moveTo>
                  <a:pt x="587142" y="7140560"/>
                </a:moveTo>
                <a:cubicBezTo>
                  <a:pt x="422771" y="7370599"/>
                  <a:pt x="283524" y="7616211"/>
                  <a:pt x="182254" y="7881736"/>
                </a:cubicBezTo>
                <a:cubicBezTo>
                  <a:pt x="-13287" y="8390143"/>
                  <a:pt x="-49307" y="8955157"/>
                  <a:pt x="63739" y="9488331"/>
                </a:cubicBezTo>
                <a:lnTo>
                  <a:pt x="65906" y="9496310"/>
                </a:lnTo>
                <a:lnTo>
                  <a:pt x="1454099" y="10496256"/>
                </a:lnTo>
                <a:lnTo>
                  <a:pt x="8580042" y="603542"/>
                </a:lnTo>
                <a:lnTo>
                  <a:pt x="7742164" y="0"/>
                </a:lnTo>
                <a:lnTo>
                  <a:pt x="7637552" y="15185"/>
                </a:lnTo>
                <a:cubicBezTo>
                  <a:pt x="7340328" y="66643"/>
                  <a:pt x="7045574" y="132510"/>
                  <a:pt x="6775520" y="198376"/>
                </a:cubicBezTo>
                <a:cubicBezTo>
                  <a:pt x="6228823" y="333405"/>
                  <a:pt x="5692010" y="557352"/>
                  <a:pt x="5247408" y="909737"/>
                </a:cubicBezTo>
                <a:cubicBezTo>
                  <a:pt x="4552515" y="1459726"/>
                  <a:pt x="4018995" y="2371979"/>
                  <a:pt x="3827981" y="3231542"/>
                </a:cubicBezTo>
                <a:cubicBezTo>
                  <a:pt x="3548049" y="4489597"/>
                  <a:pt x="2464539" y="5289877"/>
                  <a:pt x="1558870" y="6100041"/>
                </a:cubicBezTo>
                <a:cubicBezTo>
                  <a:pt x="1204836" y="6417022"/>
                  <a:pt x="861094" y="6757163"/>
                  <a:pt x="587142" y="7140560"/>
                </a:cubicBezTo>
                <a:close/>
              </a:path>
            </a:pathLst>
          </a:custGeom>
          <a:solidFill>
            <a:schemeClr val="accent4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2FA0290E-3307-4406-B0A7-ECEB4A8B4674}"/>
              </a:ext>
            </a:extLst>
          </p:cNvPr>
          <p:cNvGrpSpPr/>
          <p:nvPr/>
        </p:nvGrpSpPr>
        <p:grpSpPr>
          <a:xfrm rot="16200000">
            <a:off x="797214" y="-332152"/>
            <a:ext cx="208395" cy="1314681"/>
            <a:chOff x="243840" y="162560"/>
            <a:chExt cx="325120" cy="2051050"/>
          </a:xfrm>
        </p:grpSpPr>
        <p:sp>
          <p:nvSpPr>
            <p:cNvPr id="35" name="Rectangle: Rounded Corners 34">
              <a:extLst>
                <a:ext uri="{FF2B5EF4-FFF2-40B4-BE49-F238E27FC236}">
                  <a16:creationId xmlns:a16="http://schemas.microsoft.com/office/drawing/2014/main" id="{0C6CA1C1-2B2D-4DF1-B0F4-9412E9ADDB9E}"/>
                </a:ext>
              </a:extLst>
            </p:cNvPr>
            <p:cNvSpPr/>
            <p:nvPr/>
          </p:nvSpPr>
          <p:spPr>
            <a:xfrm>
              <a:off x="243840" y="162560"/>
              <a:ext cx="325120" cy="1097280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" name="Rectangle: Rounded Corners 35">
              <a:extLst>
                <a:ext uri="{FF2B5EF4-FFF2-40B4-BE49-F238E27FC236}">
                  <a16:creationId xmlns:a16="http://schemas.microsoft.com/office/drawing/2014/main" id="{4B3DE816-C5F3-49CF-83EE-CD043702FA17}"/>
                </a:ext>
              </a:extLst>
            </p:cNvPr>
            <p:cNvSpPr/>
            <p:nvPr/>
          </p:nvSpPr>
          <p:spPr>
            <a:xfrm>
              <a:off x="243840" y="1324610"/>
              <a:ext cx="325120" cy="508000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" name="Rectangle: Rounded Corners 36">
              <a:extLst>
                <a:ext uri="{FF2B5EF4-FFF2-40B4-BE49-F238E27FC236}">
                  <a16:creationId xmlns:a16="http://schemas.microsoft.com/office/drawing/2014/main" id="{1B51AFC4-5B97-459A-86AE-EA979492BA4C}"/>
                </a:ext>
              </a:extLst>
            </p:cNvPr>
            <p:cNvSpPr/>
            <p:nvPr/>
          </p:nvSpPr>
          <p:spPr>
            <a:xfrm>
              <a:off x="243840" y="1897380"/>
              <a:ext cx="325120" cy="316230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8" name="Rectangle 25">
            <a:extLst>
              <a:ext uri="{FF2B5EF4-FFF2-40B4-BE49-F238E27FC236}">
                <a16:creationId xmlns:a16="http://schemas.microsoft.com/office/drawing/2014/main" id="{D6A4BEB2-11F4-9172-1C0A-FFDE7EBA2E80}"/>
              </a:ext>
            </a:extLst>
          </p:cNvPr>
          <p:cNvSpPr/>
          <p:nvPr/>
        </p:nvSpPr>
        <p:spPr>
          <a:xfrm>
            <a:off x="161037" y="6374139"/>
            <a:ext cx="1658798" cy="2965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sz="1200" b="1" dirty="0">
                <a:solidFill>
                  <a:schemeClr val="bg1"/>
                </a:solidFill>
                <a:latin typeface="Montserrat" panose="00000500000000000000" pitchFamily="50" charset="0"/>
                <a:cs typeface="Segoe UI" panose="020B0502040204020203" pitchFamily="34" charset="0"/>
              </a:rPr>
              <a:t>#AYOPAKAIDATA</a:t>
            </a:r>
          </a:p>
        </p:txBody>
      </p:sp>
      <p:sp>
        <p:nvSpPr>
          <p:cNvPr id="12" name="TextBox 27">
            <a:extLst>
              <a:ext uri="{FF2B5EF4-FFF2-40B4-BE49-F238E27FC236}">
                <a16:creationId xmlns:a16="http://schemas.microsoft.com/office/drawing/2014/main" id="{BDE0F437-252B-CCA5-429E-976ABBB96004}"/>
              </a:ext>
            </a:extLst>
          </p:cNvPr>
          <p:cNvSpPr txBox="1"/>
          <p:nvPr/>
        </p:nvSpPr>
        <p:spPr>
          <a:xfrm>
            <a:off x="3620547" y="44824"/>
            <a:ext cx="531107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i="1" dirty="0">
                <a:latin typeface="Segoe UI" panose="020B0502040204020203" pitchFamily="34" charset="0"/>
                <a:cs typeface="Segoe UI" panose="020B0502040204020203" pitchFamily="34" charset="0"/>
              </a:rPr>
              <a:t>Aggregate into </a:t>
            </a:r>
            <a:r>
              <a:rPr lang="en-US" sz="3200" b="1" i="1" dirty="0">
                <a:solidFill>
                  <a:schemeClr val="accent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act table</a:t>
            </a:r>
            <a:endParaRPr lang="id-ID" sz="3200" b="1" i="1" dirty="0">
              <a:solidFill>
                <a:schemeClr val="accent4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3" name="Gambar 12">
            <a:extLst>
              <a:ext uri="{FF2B5EF4-FFF2-40B4-BE49-F238E27FC236}">
                <a16:creationId xmlns:a16="http://schemas.microsoft.com/office/drawing/2014/main" id="{363944DE-08D9-6612-18E1-7DFC69FAE1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6617" y="1964806"/>
            <a:ext cx="3406435" cy="3200677"/>
          </a:xfrm>
          <a:prstGeom prst="rect">
            <a:avLst/>
          </a:prstGeom>
        </p:spPr>
      </p:pic>
      <p:pic>
        <p:nvPicPr>
          <p:cNvPr id="14" name="Gambar 13">
            <a:extLst>
              <a:ext uri="{FF2B5EF4-FFF2-40B4-BE49-F238E27FC236}">
                <a16:creationId xmlns:a16="http://schemas.microsoft.com/office/drawing/2014/main" id="{66561C6D-DC35-3711-31D8-C238B6A9139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24818" y="548917"/>
            <a:ext cx="4374568" cy="2259105"/>
          </a:xfrm>
          <a:prstGeom prst="rect">
            <a:avLst/>
          </a:prstGeom>
        </p:spPr>
      </p:pic>
      <p:pic>
        <p:nvPicPr>
          <p:cNvPr id="15" name="Gambar 14">
            <a:extLst>
              <a:ext uri="{FF2B5EF4-FFF2-40B4-BE49-F238E27FC236}">
                <a16:creationId xmlns:a16="http://schemas.microsoft.com/office/drawing/2014/main" id="{AE7665D2-884F-1417-EE84-4BA0CD96F74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25241" y="2808022"/>
            <a:ext cx="4999153" cy="2027096"/>
          </a:xfrm>
          <a:prstGeom prst="rect">
            <a:avLst/>
          </a:prstGeom>
        </p:spPr>
      </p:pic>
      <p:pic>
        <p:nvPicPr>
          <p:cNvPr id="16" name="Gambar 15">
            <a:extLst>
              <a:ext uri="{FF2B5EF4-FFF2-40B4-BE49-F238E27FC236}">
                <a16:creationId xmlns:a16="http://schemas.microsoft.com/office/drawing/2014/main" id="{52C9E46C-BDAD-6811-0F06-B68FAD5EBA7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906687" y="4794372"/>
            <a:ext cx="4210830" cy="2063628"/>
          </a:xfrm>
          <a:prstGeom prst="rect">
            <a:avLst/>
          </a:prstGeom>
        </p:spPr>
      </p:pic>
      <p:sp>
        <p:nvSpPr>
          <p:cNvPr id="17" name="Panah: Kanan 16">
            <a:extLst>
              <a:ext uri="{FF2B5EF4-FFF2-40B4-BE49-F238E27FC236}">
                <a16:creationId xmlns:a16="http://schemas.microsoft.com/office/drawing/2014/main" id="{ADB67C59-3CC6-6D36-4ABF-E31B7A8991F9}"/>
              </a:ext>
            </a:extLst>
          </p:cNvPr>
          <p:cNvSpPr/>
          <p:nvPr/>
        </p:nvSpPr>
        <p:spPr>
          <a:xfrm>
            <a:off x="3686619" y="2848363"/>
            <a:ext cx="1025004" cy="132677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18" name="Kotak Teks 17">
            <a:extLst>
              <a:ext uri="{FF2B5EF4-FFF2-40B4-BE49-F238E27FC236}">
                <a16:creationId xmlns:a16="http://schemas.microsoft.com/office/drawing/2014/main" id="{DF297315-F10C-FFB4-7D25-A6088954E10A}"/>
              </a:ext>
            </a:extLst>
          </p:cNvPr>
          <p:cNvSpPr txBox="1"/>
          <p:nvPr/>
        </p:nvSpPr>
        <p:spPr>
          <a:xfrm>
            <a:off x="370356" y="1330265"/>
            <a:ext cx="498751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d-ID" sz="1400" dirty="0" err="1"/>
              <a:t>PostgresOperator</a:t>
            </a:r>
            <a:r>
              <a:rPr lang="id-ID" sz="1400" dirty="0"/>
              <a:t> untuk </a:t>
            </a:r>
            <a:r>
              <a:rPr lang="id-ID" sz="1400" dirty="0" err="1"/>
              <a:t>aggregate</a:t>
            </a:r>
            <a:r>
              <a:rPr lang="id-ID" sz="1400" dirty="0"/>
              <a:t> </a:t>
            </a:r>
            <a:r>
              <a:rPr lang="id-ID" sz="1400" dirty="0" err="1"/>
              <a:t>Province</a:t>
            </a:r>
            <a:r>
              <a:rPr lang="id-ID" sz="1400" dirty="0"/>
              <a:t> </a:t>
            </a:r>
            <a:r>
              <a:rPr lang="id-ID" sz="1400" dirty="0" err="1"/>
              <a:t>daily</a:t>
            </a:r>
            <a:r>
              <a:rPr lang="id-ID" sz="1400" dirty="0"/>
              <a:t>, </a:t>
            </a:r>
            <a:r>
              <a:rPr lang="id-ID" sz="1400" dirty="0" err="1"/>
              <a:t>monthlly</a:t>
            </a:r>
            <a:r>
              <a:rPr lang="id-ID" sz="1400" dirty="0"/>
              <a:t>, </a:t>
            </a:r>
            <a:r>
              <a:rPr lang="id-ID" sz="1400" dirty="0" err="1"/>
              <a:t>yearly</a:t>
            </a:r>
            <a:endParaRPr lang="id-ID" sz="1400" dirty="0"/>
          </a:p>
        </p:txBody>
      </p:sp>
    </p:spTree>
    <p:extLst>
      <p:ext uri="{BB962C8B-B14F-4D97-AF65-F5344CB8AC3E}">
        <p14:creationId xmlns:p14="http://schemas.microsoft.com/office/powerpoint/2010/main" val="4226203669"/>
      </p:ext>
    </p:extLst>
  </p:cSld>
  <p:clrMapOvr>
    <a:masterClrMapping/>
  </p:clrMapOvr>
  <p:transition spd="slow">
    <p:wip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AAF1850C-B134-4ADE-A82B-61D1799A604F}"/>
              </a:ext>
            </a:extLst>
          </p:cNvPr>
          <p:cNvSpPr/>
          <p:nvPr/>
        </p:nvSpPr>
        <p:spPr>
          <a:xfrm rot="7545963" flipV="1">
            <a:off x="1986062" y="843559"/>
            <a:ext cx="8580042" cy="10496256"/>
          </a:xfrm>
          <a:custGeom>
            <a:avLst/>
            <a:gdLst>
              <a:gd name="connsiteX0" fmla="*/ 587142 w 8580042"/>
              <a:gd name="connsiteY0" fmla="*/ 7140560 h 10496256"/>
              <a:gd name="connsiteX1" fmla="*/ 182254 w 8580042"/>
              <a:gd name="connsiteY1" fmla="*/ 7881736 h 10496256"/>
              <a:gd name="connsiteX2" fmla="*/ 63739 w 8580042"/>
              <a:gd name="connsiteY2" fmla="*/ 9488331 h 10496256"/>
              <a:gd name="connsiteX3" fmla="*/ 65906 w 8580042"/>
              <a:gd name="connsiteY3" fmla="*/ 9496310 h 10496256"/>
              <a:gd name="connsiteX4" fmla="*/ 1454099 w 8580042"/>
              <a:gd name="connsiteY4" fmla="*/ 10496256 h 10496256"/>
              <a:gd name="connsiteX5" fmla="*/ 8580042 w 8580042"/>
              <a:gd name="connsiteY5" fmla="*/ 603542 h 10496256"/>
              <a:gd name="connsiteX6" fmla="*/ 7742164 w 8580042"/>
              <a:gd name="connsiteY6" fmla="*/ 0 h 10496256"/>
              <a:gd name="connsiteX7" fmla="*/ 7637552 w 8580042"/>
              <a:gd name="connsiteY7" fmla="*/ 15185 h 10496256"/>
              <a:gd name="connsiteX8" fmla="*/ 6775520 w 8580042"/>
              <a:gd name="connsiteY8" fmla="*/ 198376 h 10496256"/>
              <a:gd name="connsiteX9" fmla="*/ 5247408 w 8580042"/>
              <a:gd name="connsiteY9" fmla="*/ 909737 h 10496256"/>
              <a:gd name="connsiteX10" fmla="*/ 3827981 w 8580042"/>
              <a:gd name="connsiteY10" fmla="*/ 3231542 h 10496256"/>
              <a:gd name="connsiteX11" fmla="*/ 1558870 w 8580042"/>
              <a:gd name="connsiteY11" fmla="*/ 6100041 h 10496256"/>
              <a:gd name="connsiteX12" fmla="*/ 587142 w 8580042"/>
              <a:gd name="connsiteY12" fmla="*/ 7140560 h 104962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580042" h="10496256">
                <a:moveTo>
                  <a:pt x="587142" y="7140560"/>
                </a:moveTo>
                <a:cubicBezTo>
                  <a:pt x="422771" y="7370599"/>
                  <a:pt x="283524" y="7616211"/>
                  <a:pt x="182254" y="7881736"/>
                </a:cubicBezTo>
                <a:cubicBezTo>
                  <a:pt x="-13287" y="8390143"/>
                  <a:pt x="-49307" y="8955157"/>
                  <a:pt x="63739" y="9488331"/>
                </a:cubicBezTo>
                <a:lnTo>
                  <a:pt x="65906" y="9496310"/>
                </a:lnTo>
                <a:lnTo>
                  <a:pt x="1454099" y="10496256"/>
                </a:lnTo>
                <a:lnTo>
                  <a:pt x="8580042" y="603542"/>
                </a:lnTo>
                <a:lnTo>
                  <a:pt x="7742164" y="0"/>
                </a:lnTo>
                <a:lnTo>
                  <a:pt x="7637552" y="15185"/>
                </a:lnTo>
                <a:cubicBezTo>
                  <a:pt x="7340328" y="66643"/>
                  <a:pt x="7045574" y="132510"/>
                  <a:pt x="6775520" y="198376"/>
                </a:cubicBezTo>
                <a:cubicBezTo>
                  <a:pt x="6228823" y="333405"/>
                  <a:pt x="5692010" y="557352"/>
                  <a:pt x="5247408" y="909737"/>
                </a:cubicBezTo>
                <a:cubicBezTo>
                  <a:pt x="4552515" y="1459726"/>
                  <a:pt x="4018995" y="2371979"/>
                  <a:pt x="3827981" y="3231542"/>
                </a:cubicBezTo>
                <a:cubicBezTo>
                  <a:pt x="3548049" y="4489597"/>
                  <a:pt x="2464539" y="5289877"/>
                  <a:pt x="1558870" y="6100041"/>
                </a:cubicBezTo>
                <a:cubicBezTo>
                  <a:pt x="1204836" y="6417022"/>
                  <a:pt x="861094" y="6757163"/>
                  <a:pt x="587142" y="7140560"/>
                </a:cubicBezTo>
                <a:close/>
              </a:path>
            </a:pathLst>
          </a:custGeom>
          <a:solidFill>
            <a:schemeClr val="accent4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2FA0290E-3307-4406-B0A7-ECEB4A8B4674}"/>
              </a:ext>
            </a:extLst>
          </p:cNvPr>
          <p:cNvGrpSpPr/>
          <p:nvPr/>
        </p:nvGrpSpPr>
        <p:grpSpPr>
          <a:xfrm rot="16200000">
            <a:off x="797214" y="-332152"/>
            <a:ext cx="208395" cy="1314681"/>
            <a:chOff x="243840" y="162560"/>
            <a:chExt cx="325120" cy="2051050"/>
          </a:xfrm>
        </p:grpSpPr>
        <p:sp>
          <p:nvSpPr>
            <p:cNvPr id="35" name="Rectangle: Rounded Corners 34">
              <a:extLst>
                <a:ext uri="{FF2B5EF4-FFF2-40B4-BE49-F238E27FC236}">
                  <a16:creationId xmlns:a16="http://schemas.microsoft.com/office/drawing/2014/main" id="{0C6CA1C1-2B2D-4DF1-B0F4-9412E9ADDB9E}"/>
                </a:ext>
              </a:extLst>
            </p:cNvPr>
            <p:cNvSpPr/>
            <p:nvPr/>
          </p:nvSpPr>
          <p:spPr>
            <a:xfrm>
              <a:off x="243840" y="162560"/>
              <a:ext cx="325120" cy="1097280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" name="Rectangle: Rounded Corners 35">
              <a:extLst>
                <a:ext uri="{FF2B5EF4-FFF2-40B4-BE49-F238E27FC236}">
                  <a16:creationId xmlns:a16="http://schemas.microsoft.com/office/drawing/2014/main" id="{4B3DE816-C5F3-49CF-83EE-CD043702FA17}"/>
                </a:ext>
              </a:extLst>
            </p:cNvPr>
            <p:cNvSpPr/>
            <p:nvPr/>
          </p:nvSpPr>
          <p:spPr>
            <a:xfrm>
              <a:off x="243840" y="1324610"/>
              <a:ext cx="325120" cy="508000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" name="Rectangle: Rounded Corners 36">
              <a:extLst>
                <a:ext uri="{FF2B5EF4-FFF2-40B4-BE49-F238E27FC236}">
                  <a16:creationId xmlns:a16="http://schemas.microsoft.com/office/drawing/2014/main" id="{1B51AFC4-5B97-459A-86AE-EA979492BA4C}"/>
                </a:ext>
              </a:extLst>
            </p:cNvPr>
            <p:cNvSpPr/>
            <p:nvPr/>
          </p:nvSpPr>
          <p:spPr>
            <a:xfrm>
              <a:off x="243840" y="1897380"/>
              <a:ext cx="325120" cy="316230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8" name="Rectangle 25">
            <a:extLst>
              <a:ext uri="{FF2B5EF4-FFF2-40B4-BE49-F238E27FC236}">
                <a16:creationId xmlns:a16="http://schemas.microsoft.com/office/drawing/2014/main" id="{D6A4BEB2-11F4-9172-1C0A-FFDE7EBA2E80}"/>
              </a:ext>
            </a:extLst>
          </p:cNvPr>
          <p:cNvSpPr/>
          <p:nvPr/>
        </p:nvSpPr>
        <p:spPr>
          <a:xfrm>
            <a:off x="161037" y="6374139"/>
            <a:ext cx="1658798" cy="2965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sz="1200" b="1" dirty="0">
                <a:solidFill>
                  <a:schemeClr val="bg1"/>
                </a:solidFill>
                <a:latin typeface="Montserrat" panose="00000500000000000000" pitchFamily="50" charset="0"/>
                <a:cs typeface="Segoe UI" panose="020B0502040204020203" pitchFamily="34" charset="0"/>
              </a:rPr>
              <a:t>#AYOPAKAIDATA</a:t>
            </a:r>
          </a:p>
        </p:txBody>
      </p:sp>
      <p:sp>
        <p:nvSpPr>
          <p:cNvPr id="12" name="TextBox 27">
            <a:extLst>
              <a:ext uri="{FF2B5EF4-FFF2-40B4-BE49-F238E27FC236}">
                <a16:creationId xmlns:a16="http://schemas.microsoft.com/office/drawing/2014/main" id="{BDE0F437-252B-CCA5-429E-976ABBB96004}"/>
              </a:ext>
            </a:extLst>
          </p:cNvPr>
          <p:cNvSpPr txBox="1"/>
          <p:nvPr/>
        </p:nvSpPr>
        <p:spPr>
          <a:xfrm>
            <a:off x="3620547" y="44824"/>
            <a:ext cx="531107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i="1" dirty="0">
                <a:latin typeface="Segoe UI" panose="020B0502040204020203" pitchFamily="34" charset="0"/>
                <a:cs typeface="Segoe UI" panose="020B0502040204020203" pitchFamily="34" charset="0"/>
              </a:rPr>
              <a:t>Aggregate into </a:t>
            </a:r>
            <a:r>
              <a:rPr lang="en-US" sz="3200" b="1" i="1" dirty="0">
                <a:solidFill>
                  <a:schemeClr val="accent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act table</a:t>
            </a:r>
            <a:endParaRPr lang="id-ID" sz="3200" b="1" i="1" dirty="0">
              <a:solidFill>
                <a:schemeClr val="accent4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7" name="Panah: Kanan 16">
            <a:extLst>
              <a:ext uri="{FF2B5EF4-FFF2-40B4-BE49-F238E27FC236}">
                <a16:creationId xmlns:a16="http://schemas.microsoft.com/office/drawing/2014/main" id="{ADB67C59-3CC6-6D36-4ABF-E31B7A8991F9}"/>
              </a:ext>
            </a:extLst>
          </p:cNvPr>
          <p:cNvSpPr/>
          <p:nvPr/>
        </p:nvSpPr>
        <p:spPr>
          <a:xfrm>
            <a:off x="3238384" y="2765611"/>
            <a:ext cx="1025004" cy="132677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pic>
        <p:nvPicPr>
          <p:cNvPr id="18" name="Gambar 17">
            <a:extLst>
              <a:ext uri="{FF2B5EF4-FFF2-40B4-BE49-F238E27FC236}">
                <a16:creationId xmlns:a16="http://schemas.microsoft.com/office/drawing/2014/main" id="{9CE1FA05-2427-1EAA-6D8A-63E8FF70492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859" y="1787074"/>
            <a:ext cx="3100988" cy="3277986"/>
          </a:xfrm>
          <a:prstGeom prst="rect">
            <a:avLst/>
          </a:prstGeom>
        </p:spPr>
      </p:pic>
      <p:pic>
        <p:nvPicPr>
          <p:cNvPr id="19" name="Gambar 18">
            <a:extLst>
              <a:ext uri="{FF2B5EF4-FFF2-40B4-BE49-F238E27FC236}">
                <a16:creationId xmlns:a16="http://schemas.microsoft.com/office/drawing/2014/main" id="{FC903838-0537-C530-66C7-B0AFC7E857B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43921" y="629599"/>
            <a:ext cx="5082980" cy="1882303"/>
          </a:xfrm>
          <a:prstGeom prst="rect">
            <a:avLst/>
          </a:prstGeom>
        </p:spPr>
      </p:pic>
      <p:pic>
        <p:nvPicPr>
          <p:cNvPr id="20" name="Gambar 19">
            <a:extLst>
              <a:ext uri="{FF2B5EF4-FFF2-40B4-BE49-F238E27FC236}">
                <a16:creationId xmlns:a16="http://schemas.microsoft.com/office/drawing/2014/main" id="{37A71B44-B496-724B-13AF-3735D92B93D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33470" y="2919264"/>
            <a:ext cx="6805250" cy="1463167"/>
          </a:xfrm>
          <a:prstGeom prst="rect">
            <a:avLst/>
          </a:prstGeom>
        </p:spPr>
      </p:pic>
      <p:pic>
        <p:nvPicPr>
          <p:cNvPr id="21" name="Gambar 20">
            <a:extLst>
              <a:ext uri="{FF2B5EF4-FFF2-40B4-BE49-F238E27FC236}">
                <a16:creationId xmlns:a16="http://schemas.microsoft.com/office/drawing/2014/main" id="{76BD3636-D1F4-5A36-64B0-CBE373B0DF8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73472" y="4790632"/>
            <a:ext cx="4953429" cy="1844200"/>
          </a:xfrm>
          <a:prstGeom prst="rect">
            <a:avLst/>
          </a:prstGeom>
        </p:spPr>
      </p:pic>
      <p:sp>
        <p:nvSpPr>
          <p:cNvPr id="22" name="Kotak Teks 21">
            <a:extLst>
              <a:ext uri="{FF2B5EF4-FFF2-40B4-BE49-F238E27FC236}">
                <a16:creationId xmlns:a16="http://schemas.microsoft.com/office/drawing/2014/main" id="{6A029B29-4AD4-31CC-A531-262992EFDBA6}"/>
              </a:ext>
            </a:extLst>
          </p:cNvPr>
          <p:cNvSpPr txBox="1"/>
          <p:nvPr/>
        </p:nvSpPr>
        <p:spPr>
          <a:xfrm>
            <a:off x="370356" y="1330265"/>
            <a:ext cx="488018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d-ID" sz="1400" dirty="0" err="1"/>
              <a:t>PostgresOperator</a:t>
            </a:r>
            <a:r>
              <a:rPr lang="id-ID" sz="1400" dirty="0"/>
              <a:t> untuk </a:t>
            </a:r>
            <a:r>
              <a:rPr lang="id-ID" sz="1400" dirty="0" err="1"/>
              <a:t>aggregate</a:t>
            </a:r>
            <a:r>
              <a:rPr lang="id-ID" sz="1400" dirty="0"/>
              <a:t> </a:t>
            </a:r>
            <a:r>
              <a:rPr lang="id-ID" sz="1400" dirty="0" err="1"/>
              <a:t>District</a:t>
            </a:r>
            <a:r>
              <a:rPr lang="id-ID" sz="1400" dirty="0"/>
              <a:t> </a:t>
            </a:r>
            <a:r>
              <a:rPr lang="id-ID" sz="1400" dirty="0" err="1"/>
              <a:t>daily</a:t>
            </a:r>
            <a:r>
              <a:rPr lang="id-ID" sz="1400" dirty="0"/>
              <a:t>, </a:t>
            </a:r>
            <a:r>
              <a:rPr lang="id-ID" sz="1400" dirty="0" err="1"/>
              <a:t>monthlly</a:t>
            </a:r>
            <a:r>
              <a:rPr lang="id-ID" sz="1400" dirty="0"/>
              <a:t>, </a:t>
            </a:r>
            <a:r>
              <a:rPr lang="id-ID" sz="1400" dirty="0" err="1"/>
              <a:t>yearly</a:t>
            </a:r>
            <a:endParaRPr lang="id-ID" sz="1400" dirty="0"/>
          </a:p>
        </p:txBody>
      </p:sp>
    </p:spTree>
    <p:extLst>
      <p:ext uri="{BB962C8B-B14F-4D97-AF65-F5344CB8AC3E}">
        <p14:creationId xmlns:p14="http://schemas.microsoft.com/office/powerpoint/2010/main" val="3312713016"/>
      </p:ext>
    </p:extLst>
  </p:cSld>
  <p:clrMapOvr>
    <a:masterClrMapping/>
  </p:clrMapOvr>
  <p:transition spd="slow">
    <p:wip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Picture 38">
            <a:extLst>
              <a:ext uri="{FF2B5EF4-FFF2-40B4-BE49-F238E27FC236}">
                <a16:creationId xmlns:a16="http://schemas.microsoft.com/office/drawing/2014/main" id="{C4C912E7-E1A8-4314-BF84-2A7563BE378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B14EC8CD-C4E5-433F-A134-DF0364B71489}"/>
              </a:ext>
            </a:extLst>
          </p:cNvPr>
          <p:cNvSpPr/>
          <p:nvPr/>
        </p:nvSpPr>
        <p:spPr>
          <a:xfrm>
            <a:off x="-1" y="0"/>
            <a:ext cx="12192000" cy="6858000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A4AC4EC7-206D-48E8-8AEE-94BCB497FADB}"/>
              </a:ext>
            </a:extLst>
          </p:cNvPr>
          <p:cNvGrpSpPr/>
          <p:nvPr/>
        </p:nvGrpSpPr>
        <p:grpSpPr>
          <a:xfrm>
            <a:off x="-2" y="6422460"/>
            <a:ext cx="12192000" cy="422476"/>
            <a:chOff x="1" y="6435524"/>
            <a:chExt cx="12192000" cy="422476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215023A4-D255-4262-83C4-AAA86A106D21}"/>
                </a:ext>
              </a:extLst>
            </p:cNvPr>
            <p:cNvSpPr/>
            <p:nvPr/>
          </p:nvSpPr>
          <p:spPr>
            <a:xfrm>
              <a:off x="1" y="6435524"/>
              <a:ext cx="6096000" cy="422476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303B8D70-9438-4C93-A648-4187351CDA54}"/>
                </a:ext>
              </a:extLst>
            </p:cNvPr>
            <p:cNvSpPr/>
            <p:nvPr/>
          </p:nvSpPr>
          <p:spPr>
            <a:xfrm>
              <a:off x="6096001" y="6435524"/>
              <a:ext cx="6096000" cy="422476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7DD6EDCE-174D-4AC6-8B72-E4306B086C1A}"/>
              </a:ext>
            </a:extLst>
          </p:cNvPr>
          <p:cNvSpPr txBox="1"/>
          <p:nvPr/>
        </p:nvSpPr>
        <p:spPr>
          <a:xfrm>
            <a:off x="3167639" y="449407"/>
            <a:ext cx="585672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irflow </a:t>
            </a:r>
            <a:r>
              <a:rPr lang="en-US" sz="4000" b="1" i="1" dirty="0">
                <a:solidFill>
                  <a:schemeClr val="accent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aph &amp; Tree</a:t>
            </a:r>
            <a:endParaRPr lang="id-ID" sz="4000" b="1" i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82EE836-9D55-42EE-B311-E266CA8744C8}"/>
              </a:ext>
            </a:extLst>
          </p:cNvPr>
          <p:cNvGrpSpPr/>
          <p:nvPr/>
        </p:nvGrpSpPr>
        <p:grpSpPr>
          <a:xfrm rot="16200000">
            <a:off x="797214" y="-332152"/>
            <a:ext cx="208395" cy="1314681"/>
            <a:chOff x="243840" y="162560"/>
            <a:chExt cx="325120" cy="2051050"/>
          </a:xfrm>
        </p:grpSpPr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6EC91593-9F88-4B7C-A787-B03B87E36647}"/>
                </a:ext>
              </a:extLst>
            </p:cNvPr>
            <p:cNvSpPr/>
            <p:nvPr/>
          </p:nvSpPr>
          <p:spPr>
            <a:xfrm>
              <a:off x="243840" y="162560"/>
              <a:ext cx="325120" cy="1097280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E2E8634E-428B-4B97-BED7-C374891EFEE9}"/>
                </a:ext>
              </a:extLst>
            </p:cNvPr>
            <p:cNvSpPr/>
            <p:nvPr/>
          </p:nvSpPr>
          <p:spPr>
            <a:xfrm>
              <a:off x="243840" y="1324610"/>
              <a:ext cx="325120" cy="508000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871DC066-6581-41D8-BB49-1C70D95CAB94}"/>
                </a:ext>
              </a:extLst>
            </p:cNvPr>
            <p:cNvSpPr/>
            <p:nvPr/>
          </p:nvSpPr>
          <p:spPr>
            <a:xfrm>
              <a:off x="243840" y="1897380"/>
              <a:ext cx="325120" cy="316230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  <p:pic>
        <p:nvPicPr>
          <p:cNvPr id="40" name="Gambar 39">
            <a:extLst>
              <a:ext uri="{FF2B5EF4-FFF2-40B4-BE49-F238E27FC236}">
                <a16:creationId xmlns:a16="http://schemas.microsoft.com/office/drawing/2014/main" id="{9EA9D35C-8692-182D-C9F9-8A6EE9FB2E4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62" y="1872286"/>
            <a:ext cx="6096000" cy="3195283"/>
          </a:xfrm>
          <a:prstGeom prst="rect">
            <a:avLst/>
          </a:prstGeom>
        </p:spPr>
      </p:pic>
      <p:pic>
        <p:nvPicPr>
          <p:cNvPr id="41" name="Gambar 40">
            <a:extLst>
              <a:ext uri="{FF2B5EF4-FFF2-40B4-BE49-F238E27FC236}">
                <a16:creationId xmlns:a16="http://schemas.microsoft.com/office/drawing/2014/main" id="{267B9554-CB35-BBB1-F308-9906C035DA5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06839" y="1905596"/>
            <a:ext cx="6182270" cy="3161973"/>
          </a:xfrm>
          <a:prstGeom prst="rect">
            <a:avLst/>
          </a:prstGeom>
        </p:spPr>
      </p:pic>
      <p:sp>
        <p:nvSpPr>
          <p:cNvPr id="42" name="Rectangle 25">
            <a:extLst>
              <a:ext uri="{FF2B5EF4-FFF2-40B4-BE49-F238E27FC236}">
                <a16:creationId xmlns:a16="http://schemas.microsoft.com/office/drawing/2014/main" id="{C71A25E2-8438-C333-322C-E334C8E00419}"/>
              </a:ext>
            </a:extLst>
          </p:cNvPr>
          <p:cNvSpPr/>
          <p:nvPr/>
        </p:nvSpPr>
        <p:spPr>
          <a:xfrm>
            <a:off x="-2" y="6156330"/>
            <a:ext cx="1658798" cy="2965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sz="1200" b="1" dirty="0">
                <a:solidFill>
                  <a:schemeClr val="bg1"/>
                </a:solidFill>
                <a:latin typeface="Montserrat" panose="00000500000000000000" pitchFamily="50" charset="0"/>
                <a:cs typeface="Segoe UI" panose="020B0502040204020203" pitchFamily="34" charset="0"/>
              </a:rPr>
              <a:t>#AYOPAKAIDATA</a:t>
            </a:r>
          </a:p>
        </p:txBody>
      </p:sp>
    </p:spTree>
    <p:extLst>
      <p:ext uri="{BB962C8B-B14F-4D97-AF65-F5344CB8AC3E}">
        <p14:creationId xmlns:p14="http://schemas.microsoft.com/office/powerpoint/2010/main" val="4274743431"/>
      </p:ext>
    </p:extLst>
  </p:cSld>
  <p:clrMapOvr>
    <a:masterClrMapping/>
  </p:clrMapOvr>
  <p:transition spd="slow">
    <p:wip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2" name="Group 71">
            <a:extLst>
              <a:ext uri="{FF2B5EF4-FFF2-40B4-BE49-F238E27FC236}">
                <a16:creationId xmlns:a16="http://schemas.microsoft.com/office/drawing/2014/main" id="{1A1BE70D-D208-40CE-ACFF-0E072E012ADF}"/>
              </a:ext>
            </a:extLst>
          </p:cNvPr>
          <p:cNvGrpSpPr/>
          <p:nvPr/>
        </p:nvGrpSpPr>
        <p:grpSpPr>
          <a:xfrm rot="16200000">
            <a:off x="797214" y="-332152"/>
            <a:ext cx="208395" cy="1314681"/>
            <a:chOff x="243840" y="162560"/>
            <a:chExt cx="325120" cy="2051050"/>
          </a:xfrm>
        </p:grpSpPr>
        <p:sp>
          <p:nvSpPr>
            <p:cNvPr id="73" name="Rectangle: Rounded Corners 72">
              <a:extLst>
                <a:ext uri="{FF2B5EF4-FFF2-40B4-BE49-F238E27FC236}">
                  <a16:creationId xmlns:a16="http://schemas.microsoft.com/office/drawing/2014/main" id="{A99D20A1-1413-4BDD-BF43-BEF5FA487FC9}"/>
                </a:ext>
              </a:extLst>
            </p:cNvPr>
            <p:cNvSpPr/>
            <p:nvPr/>
          </p:nvSpPr>
          <p:spPr>
            <a:xfrm>
              <a:off x="243840" y="162560"/>
              <a:ext cx="325120" cy="1097280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4" name="Rectangle: Rounded Corners 73">
              <a:extLst>
                <a:ext uri="{FF2B5EF4-FFF2-40B4-BE49-F238E27FC236}">
                  <a16:creationId xmlns:a16="http://schemas.microsoft.com/office/drawing/2014/main" id="{AA54591B-9010-470D-B921-4647BACFEA4B}"/>
                </a:ext>
              </a:extLst>
            </p:cNvPr>
            <p:cNvSpPr/>
            <p:nvPr/>
          </p:nvSpPr>
          <p:spPr>
            <a:xfrm>
              <a:off x="243840" y="1324610"/>
              <a:ext cx="325120" cy="508000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" name="Rectangle: Rounded Corners 74">
              <a:extLst>
                <a:ext uri="{FF2B5EF4-FFF2-40B4-BE49-F238E27FC236}">
                  <a16:creationId xmlns:a16="http://schemas.microsoft.com/office/drawing/2014/main" id="{978056E5-B7BB-45FE-816D-7D5949ADFA98}"/>
                </a:ext>
              </a:extLst>
            </p:cNvPr>
            <p:cNvSpPr/>
            <p:nvPr/>
          </p:nvSpPr>
          <p:spPr>
            <a:xfrm>
              <a:off x="243840" y="1897380"/>
              <a:ext cx="325120" cy="316230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DF5A85FA-8E23-46DE-8841-2C984604F760}"/>
              </a:ext>
            </a:extLst>
          </p:cNvPr>
          <p:cNvGrpSpPr/>
          <p:nvPr/>
        </p:nvGrpSpPr>
        <p:grpSpPr>
          <a:xfrm flipH="1">
            <a:off x="9938955" y="142625"/>
            <a:ext cx="2111899" cy="365125"/>
            <a:chOff x="276666" y="6310778"/>
            <a:chExt cx="2111899" cy="365125"/>
          </a:xfrm>
        </p:grpSpPr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CCECB701-B91B-4FE7-ABEE-C6237435C470}"/>
                </a:ext>
              </a:extLst>
            </p:cNvPr>
            <p:cNvSpPr/>
            <p:nvPr>
              <p:custDataLst>
                <p:tags r:id="rId1"/>
              </p:custDataLst>
            </p:nvPr>
          </p:nvSpPr>
          <p:spPr>
            <a:xfrm flipH="1">
              <a:off x="590003" y="6349732"/>
              <a:ext cx="1798562" cy="288071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en-US" sz="1050" dirty="0">
                  <a:solidFill>
                    <a:schemeClr val="tx1"/>
                  </a:solidFill>
                  <a:latin typeface="Segoe UI" panose="020B0502040204020203" pitchFamily="34" charset="0"/>
                  <a:ea typeface="Open Sans Light" panose="020B0306030504020204" pitchFamily="34" charset="0"/>
                  <a:cs typeface="Segoe UI" panose="020B0502040204020203" pitchFamily="34" charset="0"/>
                </a:rPr>
                <a:t>www.website.com</a:t>
              </a:r>
            </a:p>
          </p:txBody>
        </p:sp>
        <p:sp>
          <p:nvSpPr>
            <p:cNvPr id="78" name="Slide Number Placeholder 9">
              <a:extLst>
                <a:ext uri="{FF2B5EF4-FFF2-40B4-BE49-F238E27FC236}">
                  <a16:creationId xmlns:a16="http://schemas.microsoft.com/office/drawing/2014/main" id="{CCC1F876-9F56-4410-BA75-A76DA29ACFE6}"/>
                </a:ext>
              </a:extLst>
            </p:cNvPr>
            <p:cNvSpPr txBox="1">
              <a:spLocks/>
            </p:cNvSpPr>
            <p:nvPr/>
          </p:nvSpPr>
          <p:spPr>
            <a:xfrm flipH="1">
              <a:off x="276666" y="6310778"/>
              <a:ext cx="566563" cy="365125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en-US"/>
              </a:defPPr>
              <a:lvl1pPr marL="0" algn="ctr" defTabSz="914400" rtl="0" eaLnBrk="1" latinLnBrk="0" hangingPunct="1">
                <a:defRPr sz="10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fld id="{4EE4C47C-24E1-44FB-9EFF-0737396333CC}" type="slidenum">
                <a:rPr lang="en-US" sz="1800" b="1" smtClean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pPr algn="r"/>
                <a:t>16</a:t>
              </a:fld>
              <a:endParaRPr lang="en-US" sz="1800" b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sp>
        <p:nvSpPr>
          <p:cNvPr id="79" name="TextBox 78">
            <a:extLst>
              <a:ext uri="{FF2B5EF4-FFF2-40B4-BE49-F238E27FC236}">
                <a16:creationId xmlns:a16="http://schemas.microsoft.com/office/drawing/2014/main" id="{FD84EDE4-7022-4DDD-8A4E-C102062A1446}"/>
              </a:ext>
            </a:extLst>
          </p:cNvPr>
          <p:cNvSpPr txBox="1"/>
          <p:nvPr/>
        </p:nvSpPr>
        <p:spPr>
          <a:xfrm>
            <a:off x="3299221" y="83770"/>
            <a:ext cx="559355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i="1" dirty="0">
                <a:latin typeface="Segoe UI" panose="020B0502040204020203" pitchFamily="34" charset="0"/>
                <a:cs typeface="Segoe UI" panose="020B0502040204020203" pitchFamily="34" charset="0"/>
              </a:rPr>
              <a:t>Report </a:t>
            </a:r>
            <a:r>
              <a:rPr lang="en-US" sz="4000" b="1" i="1" dirty="0">
                <a:solidFill>
                  <a:schemeClr val="accent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able</a:t>
            </a:r>
            <a:endParaRPr lang="id-ID" sz="4000" b="1" i="1" dirty="0">
              <a:solidFill>
                <a:schemeClr val="accent4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81" name="Group 80">
            <a:extLst>
              <a:ext uri="{FF2B5EF4-FFF2-40B4-BE49-F238E27FC236}">
                <a16:creationId xmlns:a16="http://schemas.microsoft.com/office/drawing/2014/main" id="{1CE1ADFB-52FF-44B9-8D7A-826CBCA605CA}"/>
              </a:ext>
            </a:extLst>
          </p:cNvPr>
          <p:cNvGrpSpPr/>
          <p:nvPr/>
        </p:nvGrpSpPr>
        <p:grpSpPr>
          <a:xfrm rot="10800000">
            <a:off x="11739534" y="5342648"/>
            <a:ext cx="208395" cy="1314681"/>
            <a:chOff x="243840" y="162560"/>
            <a:chExt cx="325120" cy="2051050"/>
          </a:xfrm>
        </p:grpSpPr>
        <p:sp>
          <p:nvSpPr>
            <p:cNvPr id="82" name="Rectangle: Rounded Corners 81">
              <a:extLst>
                <a:ext uri="{FF2B5EF4-FFF2-40B4-BE49-F238E27FC236}">
                  <a16:creationId xmlns:a16="http://schemas.microsoft.com/office/drawing/2014/main" id="{3F216BEA-6118-417F-8457-18AF1FA3022B}"/>
                </a:ext>
              </a:extLst>
            </p:cNvPr>
            <p:cNvSpPr/>
            <p:nvPr/>
          </p:nvSpPr>
          <p:spPr>
            <a:xfrm>
              <a:off x="243840" y="162560"/>
              <a:ext cx="325120" cy="1097280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3" name="Rectangle: Rounded Corners 82">
              <a:extLst>
                <a:ext uri="{FF2B5EF4-FFF2-40B4-BE49-F238E27FC236}">
                  <a16:creationId xmlns:a16="http://schemas.microsoft.com/office/drawing/2014/main" id="{FCB1E9CF-38BC-4D49-8120-574FD7740DC1}"/>
                </a:ext>
              </a:extLst>
            </p:cNvPr>
            <p:cNvSpPr/>
            <p:nvPr/>
          </p:nvSpPr>
          <p:spPr>
            <a:xfrm>
              <a:off x="243840" y="1324610"/>
              <a:ext cx="325120" cy="508000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4" name="Rectangle: Rounded Corners 83">
              <a:extLst>
                <a:ext uri="{FF2B5EF4-FFF2-40B4-BE49-F238E27FC236}">
                  <a16:creationId xmlns:a16="http://schemas.microsoft.com/office/drawing/2014/main" id="{31A3FA28-CC03-4AF1-8A00-F73CDBFDE85C}"/>
                </a:ext>
              </a:extLst>
            </p:cNvPr>
            <p:cNvSpPr/>
            <p:nvPr/>
          </p:nvSpPr>
          <p:spPr>
            <a:xfrm>
              <a:off x="243840" y="1897380"/>
              <a:ext cx="325120" cy="316230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49" name="Gambar 48">
            <a:extLst>
              <a:ext uri="{FF2B5EF4-FFF2-40B4-BE49-F238E27FC236}">
                <a16:creationId xmlns:a16="http://schemas.microsoft.com/office/drawing/2014/main" id="{AEB8978C-573E-F67B-C963-6BEC718094D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540" y="974846"/>
            <a:ext cx="5986459" cy="4570499"/>
          </a:xfrm>
          <a:prstGeom prst="rect">
            <a:avLst/>
          </a:prstGeom>
        </p:spPr>
      </p:pic>
      <p:pic>
        <p:nvPicPr>
          <p:cNvPr id="71" name="Gambar 70">
            <a:extLst>
              <a:ext uri="{FF2B5EF4-FFF2-40B4-BE49-F238E27FC236}">
                <a16:creationId xmlns:a16="http://schemas.microsoft.com/office/drawing/2014/main" id="{3EB6A5BF-95A6-BE36-0D84-67B7FA6593F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47946" y="1521468"/>
            <a:ext cx="2744832" cy="1907532"/>
          </a:xfrm>
          <a:prstGeom prst="rect">
            <a:avLst/>
          </a:prstGeom>
        </p:spPr>
      </p:pic>
      <p:pic>
        <p:nvPicPr>
          <p:cNvPr id="85" name="Gambar 84">
            <a:extLst>
              <a:ext uri="{FF2B5EF4-FFF2-40B4-BE49-F238E27FC236}">
                <a16:creationId xmlns:a16="http://schemas.microsoft.com/office/drawing/2014/main" id="{5AAA964D-0009-7864-02B0-E1D747C421B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11152" y="4398169"/>
            <a:ext cx="2286198" cy="541067"/>
          </a:xfrm>
          <a:prstGeom prst="rect">
            <a:avLst/>
          </a:prstGeom>
        </p:spPr>
      </p:pic>
      <p:pic>
        <p:nvPicPr>
          <p:cNvPr id="86" name="Gambar 85">
            <a:extLst>
              <a:ext uri="{FF2B5EF4-FFF2-40B4-BE49-F238E27FC236}">
                <a16:creationId xmlns:a16="http://schemas.microsoft.com/office/drawing/2014/main" id="{970B66AA-BA3D-5F42-825F-84BFB60B897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034767" y="974846"/>
            <a:ext cx="3062893" cy="4658290"/>
          </a:xfrm>
          <a:prstGeom prst="rect">
            <a:avLst/>
          </a:prstGeom>
        </p:spPr>
      </p:pic>
      <p:sp>
        <p:nvSpPr>
          <p:cNvPr id="87" name="Kotak Teks 86">
            <a:extLst>
              <a:ext uri="{FF2B5EF4-FFF2-40B4-BE49-F238E27FC236}">
                <a16:creationId xmlns:a16="http://schemas.microsoft.com/office/drawing/2014/main" id="{053F1752-094D-9167-B882-CD3934B65519}"/>
              </a:ext>
            </a:extLst>
          </p:cNvPr>
          <p:cNvSpPr txBox="1"/>
          <p:nvPr/>
        </p:nvSpPr>
        <p:spPr>
          <a:xfrm>
            <a:off x="1558752" y="5574646"/>
            <a:ext cx="17158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d-ID" sz="1400" dirty="0" err="1"/>
              <a:t>Table</a:t>
            </a:r>
            <a:r>
              <a:rPr lang="id-ID" sz="1400" dirty="0"/>
              <a:t> </a:t>
            </a:r>
            <a:r>
              <a:rPr lang="id-ID" sz="1400" dirty="0" err="1"/>
              <a:t>stg_covid_data</a:t>
            </a:r>
            <a:endParaRPr lang="id-ID" sz="1400" dirty="0"/>
          </a:p>
        </p:txBody>
      </p:sp>
      <p:sp>
        <p:nvSpPr>
          <p:cNvPr id="88" name="Kotak Teks 87">
            <a:extLst>
              <a:ext uri="{FF2B5EF4-FFF2-40B4-BE49-F238E27FC236}">
                <a16:creationId xmlns:a16="http://schemas.microsoft.com/office/drawing/2014/main" id="{6013C8EE-D831-D833-A746-0801DFCDC766}"/>
              </a:ext>
            </a:extLst>
          </p:cNvPr>
          <p:cNvSpPr txBox="1"/>
          <p:nvPr/>
        </p:nvSpPr>
        <p:spPr>
          <a:xfrm>
            <a:off x="9768437" y="5574646"/>
            <a:ext cx="148630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d-ID" sz="1400" dirty="0" err="1"/>
              <a:t>Table</a:t>
            </a:r>
            <a:r>
              <a:rPr lang="id-ID" sz="1400" dirty="0"/>
              <a:t> </a:t>
            </a:r>
            <a:r>
              <a:rPr lang="id-ID" sz="1400" dirty="0" err="1"/>
              <a:t>dim_district</a:t>
            </a:r>
            <a:endParaRPr lang="id-ID" sz="1400" dirty="0"/>
          </a:p>
        </p:txBody>
      </p:sp>
      <p:sp>
        <p:nvSpPr>
          <p:cNvPr id="89" name="Kotak Teks 88">
            <a:extLst>
              <a:ext uri="{FF2B5EF4-FFF2-40B4-BE49-F238E27FC236}">
                <a16:creationId xmlns:a16="http://schemas.microsoft.com/office/drawing/2014/main" id="{2BEB964A-D95E-42E2-AE04-A74C060E6389}"/>
              </a:ext>
            </a:extLst>
          </p:cNvPr>
          <p:cNvSpPr txBox="1"/>
          <p:nvPr/>
        </p:nvSpPr>
        <p:spPr>
          <a:xfrm>
            <a:off x="6533416" y="4952184"/>
            <a:ext cx="161127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d-ID" sz="1400" dirty="0" err="1"/>
              <a:t>Table</a:t>
            </a:r>
            <a:r>
              <a:rPr lang="id-ID" sz="1400" dirty="0"/>
              <a:t> </a:t>
            </a:r>
            <a:r>
              <a:rPr lang="id-ID" sz="1400" dirty="0" err="1"/>
              <a:t>dim_province</a:t>
            </a:r>
            <a:endParaRPr lang="id-ID" sz="1400" dirty="0"/>
          </a:p>
        </p:txBody>
      </p:sp>
      <p:sp>
        <p:nvSpPr>
          <p:cNvPr id="90" name="Kotak Teks 89">
            <a:extLst>
              <a:ext uri="{FF2B5EF4-FFF2-40B4-BE49-F238E27FC236}">
                <a16:creationId xmlns:a16="http://schemas.microsoft.com/office/drawing/2014/main" id="{EBF1615D-B536-3413-445D-8870F3E1A21F}"/>
              </a:ext>
            </a:extLst>
          </p:cNvPr>
          <p:cNvSpPr txBox="1"/>
          <p:nvPr/>
        </p:nvSpPr>
        <p:spPr>
          <a:xfrm>
            <a:off x="6533416" y="3451919"/>
            <a:ext cx="13008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d-ID" sz="1400" dirty="0" err="1"/>
              <a:t>Table</a:t>
            </a:r>
            <a:r>
              <a:rPr lang="id-ID" sz="1400" dirty="0"/>
              <a:t> </a:t>
            </a:r>
            <a:r>
              <a:rPr lang="id-ID" sz="1400" dirty="0" err="1"/>
              <a:t>dim_case</a:t>
            </a:r>
            <a:endParaRPr lang="id-ID" sz="1400" dirty="0"/>
          </a:p>
        </p:txBody>
      </p:sp>
    </p:spTree>
    <p:extLst>
      <p:ext uri="{BB962C8B-B14F-4D97-AF65-F5344CB8AC3E}">
        <p14:creationId xmlns:p14="http://schemas.microsoft.com/office/powerpoint/2010/main" val="43694901"/>
      </p:ext>
    </p:extLst>
  </p:cSld>
  <p:clrMapOvr>
    <a:masterClrMapping/>
  </p:clrMapOvr>
  <p:transition spd="slow">
    <p:wip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2" name="Group 71">
            <a:extLst>
              <a:ext uri="{FF2B5EF4-FFF2-40B4-BE49-F238E27FC236}">
                <a16:creationId xmlns:a16="http://schemas.microsoft.com/office/drawing/2014/main" id="{1A1BE70D-D208-40CE-ACFF-0E072E012ADF}"/>
              </a:ext>
            </a:extLst>
          </p:cNvPr>
          <p:cNvGrpSpPr/>
          <p:nvPr/>
        </p:nvGrpSpPr>
        <p:grpSpPr>
          <a:xfrm rot="16200000">
            <a:off x="797214" y="-332152"/>
            <a:ext cx="208395" cy="1314681"/>
            <a:chOff x="243840" y="162560"/>
            <a:chExt cx="325120" cy="2051050"/>
          </a:xfrm>
        </p:grpSpPr>
        <p:sp>
          <p:nvSpPr>
            <p:cNvPr id="73" name="Rectangle: Rounded Corners 72">
              <a:extLst>
                <a:ext uri="{FF2B5EF4-FFF2-40B4-BE49-F238E27FC236}">
                  <a16:creationId xmlns:a16="http://schemas.microsoft.com/office/drawing/2014/main" id="{A99D20A1-1413-4BDD-BF43-BEF5FA487FC9}"/>
                </a:ext>
              </a:extLst>
            </p:cNvPr>
            <p:cNvSpPr/>
            <p:nvPr/>
          </p:nvSpPr>
          <p:spPr>
            <a:xfrm>
              <a:off x="243840" y="162560"/>
              <a:ext cx="325120" cy="1097280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4" name="Rectangle: Rounded Corners 73">
              <a:extLst>
                <a:ext uri="{FF2B5EF4-FFF2-40B4-BE49-F238E27FC236}">
                  <a16:creationId xmlns:a16="http://schemas.microsoft.com/office/drawing/2014/main" id="{AA54591B-9010-470D-B921-4647BACFEA4B}"/>
                </a:ext>
              </a:extLst>
            </p:cNvPr>
            <p:cNvSpPr/>
            <p:nvPr/>
          </p:nvSpPr>
          <p:spPr>
            <a:xfrm>
              <a:off x="243840" y="1324610"/>
              <a:ext cx="325120" cy="508000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" name="Rectangle: Rounded Corners 74">
              <a:extLst>
                <a:ext uri="{FF2B5EF4-FFF2-40B4-BE49-F238E27FC236}">
                  <a16:creationId xmlns:a16="http://schemas.microsoft.com/office/drawing/2014/main" id="{978056E5-B7BB-45FE-816D-7D5949ADFA98}"/>
                </a:ext>
              </a:extLst>
            </p:cNvPr>
            <p:cNvSpPr/>
            <p:nvPr/>
          </p:nvSpPr>
          <p:spPr>
            <a:xfrm>
              <a:off x="243840" y="1897380"/>
              <a:ext cx="325120" cy="316230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DF5A85FA-8E23-46DE-8841-2C984604F760}"/>
              </a:ext>
            </a:extLst>
          </p:cNvPr>
          <p:cNvGrpSpPr/>
          <p:nvPr/>
        </p:nvGrpSpPr>
        <p:grpSpPr>
          <a:xfrm flipH="1">
            <a:off x="9938955" y="142625"/>
            <a:ext cx="2111899" cy="365125"/>
            <a:chOff x="276666" y="6310778"/>
            <a:chExt cx="2111899" cy="365125"/>
          </a:xfrm>
        </p:grpSpPr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CCECB701-B91B-4FE7-ABEE-C6237435C470}"/>
                </a:ext>
              </a:extLst>
            </p:cNvPr>
            <p:cNvSpPr/>
            <p:nvPr>
              <p:custDataLst>
                <p:tags r:id="rId1"/>
              </p:custDataLst>
            </p:nvPr>
          </p:nvSpPr>
          <p:spPr>
            <a:xfrm flipH="1">
              <a:off x="590003" y="6349732"/>
              <a:ext cx="1798562" cy="288071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en-US" sz="1050" dirty="0">
                  <a:solidFill>
                    <a:schemeClr val="tx1"/>
                  </a:solidFill>
                  <a:latin typeface="Segoe UI" panose="020B0502040204020203" pitchFamily="34" charset="0"/>
                  <a:ea typeface="Open Sans Light" panose="020B0306030504020204" pitchFamily="34" charset="0"/>
                  <a:cs typeface="Segoe UI" panose="020B0502040204020203" pitchFamily="34" charset="0"/>
                </a:rPr>
                <a:t>www.website.com</a:t>
              </a:r>
            </a:p>
          </p:txBody>
        </p:sp>
        <p:sp>
          <p:nvSpPr>
            <p:cNvPr id="78" name="Slide Number Placeholder 9">
              <a:extLst>
                <a:ext uri="{FF2B5EF4-FFF2-40B4-BE49-F238E27FC236}">
                  <a16:creationId xmlns:a16="http://schemas.microsoft.com/office/drawing/2014/main" id="{CCC1F876-9F56-4410-BA75-A76DA29ACFE6}"/>
                </a:ext>
              </a:extLst>
            </p:cNvPr>
            <p:cNvSpPr txBox="1">
              <a:spLocks/>
            </p:cNvSpPr>
            <p:nvPr/>
          </p:nvSpPr>
          <p:spPr>
            <a:xfrm flipH="1">
              <a:off x="276666" y="6310778"/>
              <a:ext cx="566563" cy="365125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en-US"/>
              </a:defPPr>
              <a:lvl1pPr marL="0" algn="ctr" defTabSz="914400" rtl="0" eaLnBrk="1" latinLnBrk="0" hangingPunct="1">
                <a:defRPr sz="10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fld id="{4EE4C47C-24E1-44FB-9EFF-0737396333CC}" type="slidenum">
                <a:rPr lang="en-US" sz="1800" b="1" smtClean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pPr algn="r"/>
                <a:t>17</a:t>
              </a:fld>
              <a:endParaRPr lang="en-US" sz="1800" b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sp>
        <p:nvSpPr>
          <p:cNvPr id="79" name="TextBox 78">
            <a:extLst>
              <a:ext uri="{FF2B5EF4-FFF2-40B4-BE49-F238E27FC236}">
                <a16:creationId xmlns:a16="http://schemas.microsoft.com/office/drawing/2014/main" id="{FD84EDE4-7022-4DDD-8A4E-C102062A1446}"/>
              </a:ext>
            </a:extLst>
          </p:cNvPr>
          <p:cNvSpPr txBox="1"/>
          <p:nvPr/>
        </p:nvSpPr>
        <p:spPr>
          <a:xfrm>
            <a:off x="3299221" y="83770"/>
            <a:ext cx="559355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i="1" dirty="0">
                <a:latin typeface="Segoe UI" panose="020B0502040204020203" pitchFamily="34" charset="0"/>
                <a:cs typeface="Segoe UI" panose="020B0502040204020203" pitchFamily="34" charset="0"/>
              </a:rPr>
              <a:t>Report </a:t>
            </a:r>
            <a:r>
              <a:rPr lang="en-US" sz="4000" b="1" i="1" dirty="0">
                <a:solidFill>
                  <a:schemeClr val="accent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able</a:t>
            </a:r>
            <a:endParaRPr lang="id-ID" sz="4000" b="1" i="1" dirty="0">
              <a:solidFill>
                <a:schemeClr val="accent4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81" name="Group 80">
            <a:extLst>
              <a:ext uri="{FF2B5EF4-FFF2-40B4-BE49-F238E27FC236}">
                <a16:creationId xmlns:a16="http://schemas.microsoft.com/office/drawing/2014/main" id="{1CE1ADFB-52FF-44B9-8D7A-826CBCA605CA}"/>
              </a:ext>
            </a:extLst>
          </p:cNvPr>
          <p:cNvGrpSpPr/>
          <p:nvPr/>
        </p:nvGrpSpPr>
        <p:grpSpPr>
          <a:xfrm rot="10800000">
            <a:off x="11739534" y="5342648"/>
            <a:ext cx="208395" cy="1314681"/>
            <a:chOff x="243840" y="162560"/>
            <a:chExt cx="325120" cy="2051050"/>
          </a:xfrm>
        </p:grpSpPr>
        <p:sp>
          <p:nvSpPr>
            <p:cNvPr id="82" name="Rectangle: Rounded Corners 81">
              <a:extLst>
                <a:ext uri="{FF2B5EF4-FFF2-40B4-BE49-F238E27FC236}">
                  <a16:creationId xmlns:a16="http://schemas.microsoft.com/office/drawing/2014/main" id="{3F216BEA-6118-417F-8457-18AF1FA3022B}"/>
                </a:ext>
              </a:extLst>
            </p:cNvPr>
            <p:cNvSpPr/>
            <p:nvPr/>
          </p:nvSpPr>
          <p:spPr>
            <a:xfrm>
              <a:off x="243840" y="162560"/>
              <a:ext cx="325120" cy="1097280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3" name="Rectangle: Rounded Corners 82">
              <a:extLst>
                <a:ext uri="{FF2B5EF4-FFF2-40B4-BE49-F238E27FC236}">
                  <a16:creationId xmlns:a16="http://schemas.microsoft.com/office/drawing/2014/main" id="{FCB1E9CF-38BC-4D49-8120-574FD7740DC1}"/>
                </a:ext>
              </a:extLst>
            </p:cNvPr>
            <p:cNvSpPr/>
            <p:nvPr/>
          </p:nvSpPr>
          <p:spPr>
            <a:xfrm>
              <a:off x="243840" y="1324610"/>
              <a:ext cx="325120" cy="508000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4" name="Rectangle: Rounded Corners 83">
              <a:extLst>
                <a:ext uri="{FF2B5EF4-FFF2-40B4-BE49-F238E27FC236}">
                  <a16:creationId xmlns:a16="http://schemas.microsoft.com/office/drawing/2014/main" id="{31A3FA28-CC03-4AF1-8A00-F73CDBFDE85C}"/>
                </a:ext>
              </a:extLst>
            </p:cNvPr>
            <p:cNvSpPr/>
            <p:nvPr/>
          </p:nvSpPr>
          <p:spPr>
            <a:xfrm>
              <a:off x="243840" y="1897380"/>
              <a:ext cx="325120" cy="316230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8" name="Gambar 17">
            <a:extLst>
              <a:ext uri="{FF2B5EF4-FFF2-40B4-BE49-F238E27FC236}">
                <a16:creationId xmlns:a16="http://schemas.microsoft.com/office/drawing/2014/main" id="{3B05618F-DDBA-58A0-D246-43CFAB09EF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7135" y="791656"/>
            <a:ext cx="3199004" cy="4693472"/>
          </a:xfrm>
          <a:prstGeom prst="rect">
            <a:avLst/>
          </a:prstGeom>
        </p:spPr>
      </p:pic>
      <p:pic>
        <p:nvPicPr>
          <p:cNvPr id="19" name="Gambar 18">
            <a:extLst>
              <a:ext uri="{FF2B5EF4-FFF2-40B4-BE49-F238E27FC236}">
                <a16:creationId xmlns:a16="http://schemas.microsoft.com/office/drawing/2014/main" id="{44F05918-CB6F-2E9B-4C17-9F8C82CADB4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20996" y="791656"/>
            <a:ext cx="3199004" cy="4792448"/>
          </a:xfrm>
          <a:prstGeom prst="rect">
            <a:avLst/>
          </a:prstGeom>
        </p:spPr>
      </p:pic>
      <p:pic>
        <p:nvPicPr>
          <p:cNvPr id="20" name="Gambar 19">
            <a:extLst>
              <a:ext uri="{FF2B5EF4-FFF2-40B4-BE49-F238E27FC236}">
                <a16:creationId xmlns:a16="http://schemas.microsoft.com/office/drawing/2014/main" id="{3EA835E0-D610-DCF2-644F-075A9ED791C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039567" y="830610"/>
            <a:ext cx="3577877" cy="3997161"/>
          </a:xfrm>
          <a:prstGeom prst="rect">
            <a:avLst/>
          </a:prstGeom>
        </p:spPr>
      </p:pic>
      <p:sp>
        <p:nvSpPr>
          <p:cNvPr id="24" name="Kotak Teks 23">
            <a:extLst>
              <a:ext uri="{FF2B5EF4-FFF2-40B4-BE49-F238E27FC236}">
                <a16:creationId xmlns:a16="http://schemas.microsoft.com/office/drawing/2014/main" id="{03483A9F-8774-4287-92A6-0F73A2AA583E}"/>
              </a:ext>
            </a:extLst>
          </p:cNvPr>
          <p:cNvSpPr txBox="1"/>
          <p:nvPr/>
        </p:nvSpPr>
        <p:spPr>
          <a:xfrm>
            <a:off x="1228710" y="5584104"/>
            <a:ext cx="191392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d-ID" sz="1400" dirty="0" err="1"/>
              <a:t>Table</a:t>
            </a:r>
            <a:r>
              <a:rPr lang="id-ID" sz="1400" dirty="0"/>
              <a:t> </a:t>
            </a:r>
            <a:r>
              <a:rPr lang="id-ID" sz="1400" dirty="0" err="1"/>
              <a:t>fact_province_dly</a:t>
            </a:r>
            <a:endParaRPr lang="id-ID" sz="1400" dirty="0"/>
          </a:p>
        </p:txBody>
      </p:sp>
      <p:sp>
        <p:nvSpPr>
          <p:cNvPr id="25" name="Kotak Teks 24">
            <a:extLst>
              <a:ext uri="{FF2B5EF4-FFF2-40B4-BE49-F238E27FC236}">
                <a16:creationId xmlns:a16="http://schemas.microsoft.com/office/drawing/2014/main" id="{DE3D2DA2-782D-B7B6-0BD9-3C7D2E6C2F77}"/>
              </a:ext>
            </a:extLst>
          </p:cNvPr>
          <p:cNvSpPr txBox="1"/>
          <p:nvPr/>
        </p:nvSpPr>
        <p:spPr>
          <a:xfrm>
            <a:off x="5162571" y="5584103"/>
            <a:ext cx="199240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d-ID" sz="1400" dirty="0" err="1"/>
              <a:t>Table</a:t>
            </a:r>
            <a:r>
              <a:rPr lang="id-ID" sz="1400" dirty="0"/>
              <a:t> </a:t>
            </a:r>
            <a:r>
              <a:rPr lang="id-ID" sz="1400" dirty="0" err="1"/>
              <a:t>fact_province_mth</a:t>
            </a:r>
            <a:endParaRPr lang="id-ID" sz="1400" dirty="0"/>
          </a:p>
        </p:txBody>
      </p:sp>
      <p:sp>
        <p:nvSpPr>
          <p:cNvPr id="26" name="Kotak Teks 25">
            <a:extLst>
              <a:ext uri="{FF2B5EF4-FFF2-40B4-BE49-F238E27FC236}">
                <a16:creationId xmlns:a16="http://schemas.microsoft.com/office/drawing/2014/main" id="{D8FE6BE2-4154-02DC-C5A8-66A8251A0A4A}"/>
              </a:ext>
            </a:extLst>
          </p:cNvPr>
          <p:cNvSpPr txBox="1"/>
          <p:nvPr/>
        </p:nvSpPr>
        <p:spPr>
          <a:xfrm>
            <a:off x="8941742" y="4880954"/>
            <a:ext cx="2137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d-ID" sz="1400" dirty="0" err="1"/>
              <a:t>Table</a:t>
            </a:r>
            <a:r>
              <a:rPr lang="id-ID" sz="1400" dirty="0"/>
              <a:t> </a:t>
            </a:r>
            <a:r>
              <a:rPr lang="id-ID" sz="1400" dirty="0" err="1"/>
              <a:t>fact_province_yearly</a:t>
            </a:r>
            <a:endParaRPr lang="id-ID" sz="1400" dirty="0"/>
          </a:p>
        </p:txBody>
      </p:sp>
    </p:spTree>
    <p:extLst>
      <p:ext uri="{BB962C8B-B14F-4D97-AF65-F5344CB8AC3E}">
        <p14:creationId xmlns:p14="http://schemas.microsoft.com/office/powerpoint/2010/main" val="3575892208"/>
      </p:ext>
    </p:extLst>
  </p:cSld>
  <p:clrMapOvr>
    <a:masterClrMapping/>
  </p:clrMapOvr>
  <p:transition spd="slow">
    <p:wip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2" name="Group 71">
            <a:extLst>
              <a:ext uri="{FF2B5EF4-FFF2-40B4-BE49-F238E27FC236}">
                <a16:creationId xmlns:a16="http://schemas.microsoft.com/office/drawing/2014/main" id="{1A1BE70D-D208-40CE-ACFF-0E072E012ADF}"/>
              </a:ext>
            </a:extLst>
          </p:cNvPr>
          <p:cNvGrpSpPr/>
          <p:nvPr/>
        </p:nvGrpSpPr>
        <p:grpSpPr>
          <a:xfrm rot="16200000">
            <a:off x="797214" y="-332152"/>
            <a:ext cx="208395" cy="1314681"/>
            <a:chOff x="243840" y="162560"/>
            <a:chExt cx="325120" cy="2051050"/>
          </a:xfrm>
        </p:grpSpPr>
        <p:sp>
          <p:nvSpPr>
            <p:cNvPr id="73" name="Rectangle: Rounded Corners 72">
              <a:extLst>
                <a:ext uri="{FF2B5EF4-FFF2-40B4-BE49-F238E27FC236}">
                  <a16:creationId xmlns:a16="http://schemas.microsoft.com/office/drawing/2014/main" id="{A99D20A1-1413-4BDD-BF43-BEF5FA487FC9}"/>
                </a:ext>
              </a:extLst>
            </p:cNvPr>
            <p:cNvSpPr/>
            <p:nvPr/>
          </p:nvSpPr>
          <p:spPr>
            <a:xfrm>
              <a:off x="243840" y="162560"/>
              <a:ext cx="325120" cy="1097280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4" name="Rectangle: Rounded Corners 73">
              <a:extLst>
                <a:ext uri="{FF2B5EF4-FFF2-40B4-BE49-F238E27FC236}">
                  <a16:creationId xmlns:a16="http://schemas.microsoft.com/office/drawing/2014/main" id="{AA54591B-9010-470D-B921-4647BACFEA4B}"/>
                </a:ext>
              </a:extLst>
            </p:cNvPr>
            <p:cNvSpPr/>
            <p:nvPr/>
          </p:nvSpPr>
          <p:spPr>
            <a:xfrm>
              <a:off x="243840" y="1324610"/>
              <a:ext cx="325120" cy="508000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" name="Rectangle: Rounded Corners 74">
              <a:extLst>
                <a:ext uri="{FF2B5EF4-FFF2-40B4-BE49-F238E27FC236}">
                  <a16:creationId xmlns:a16="http://schemas.microsoft.com/office/drawing/2014/main" id="{978056E5-B7BB-45FE-816D-7D5949ADFA98}"/>
                </a:ext>
              </a:extLst>
            </p:cNvPr>
            <p:cNvSpPr/>
            <p:nvPr/>
          </p:nvSpPr>
          <p:spPr>
            <a:xfrm>
              <a:off x="243840" y="1897380"/>
              <a:ext cx="325120" cy="316230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DF5A85FA-8E23-46DE-8841-2C984604F760}"/>
              </a:ext>
            </a:extLst>
          </p:cNvPr>
          <p:cNvGrpSpPr/>
          <p:nvPr/>
        </p:nvGrpSpPr>
        <p:grpSpPr>
          <a:xfrm flipH="1">
            <a:off x="9938955" y="142625"/>
            <a:ext cx="2111899" cy="365125"/>
            <a:chOff x="276666" y="6310778"/>
            <a:chExt cx="2111899" cy="365125"/>
          </a:xfrm>
        </p:grpSpPr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CCECB701-B91B-4FE7-ABEE-C6237435C470}"/>
                </a:ext>
              </a:extLst>
            </p:cNvPr>
            <p:cNvSpPr/>
            <p:nvPr>
              <p:custDataLst>
                <p:tags r:id="rId1"/>
              </p:custDataLst>
            </p:nvPr>
          </p:nvSpPr>
          <p:spPr>
            <a:xfrm flipH="1">
              <a:off x="590003" y="6349732"/>
              <a:ext cx="1798562" cy="288071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en-US" sz="1050" dirty="0">
                  <a:solidFill>
                    <a:schemeClr val="tx1"/>
                  </a:solidFill>
                  <a:latin typeface="Segoe UI" panose="020B0502040204020203" pitchFamily="34" charset="0"/>
                  <a:ea typeface="Open Sans Light" panose="020B0306030504020204" pitchFamily="34" charset="0"/>
                  <a:cs typeface="Segoe UI" panose="020B0502040204020203" pitchFamily="34" charset="0"/>
                </a:rPr>
                <a:t>www.website.com</a:t>
              </a:r>
            </a:p>
          </p:txBody>
        </p:sp>
        <p:sp>
          <p:nvSpPr>
            <p:cNvPr id="78" name="Slide Number Placeholder 9">
              <a:extLst>
                <a:ext uri="{FF2B5EF4-FFF2-40B4-BE49-F238E27FC236}">
                  <a16:creationId xmlns:a16="http://schemas.microsoft.com/office/drawing/2014/main" id="{CCC1F876-9F56-4410-BA75-A76DA29ACFE6}"/>
                </a:ext>
              </a:extLst>
            </p:cNvPr>
            <p:cNvSpPr txBox="1">
              <a:spLocks/>
            </p:cNvSpPr>
            <p:nvPr/>
          </p:nvSpPr>
          <p:spPr>
            <a:xfrm flipH="1">
              <a:off x="276666" y="6310778"/>
              <a:ext cx="566563" cy="365125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en-US"/>
              </a:defPPr>
              <a:lvl1pPr marL="0" algn="ctr" defTabSz="914400" rtl="0" eaLnBrk="1" latinLnBrk="0" hangingPunct="1">
                <a:defRPr sz="10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fld id="{4EE4C47C-24E1-44FB-9EFF-0737396333CC}" type="slidenum">
                <a:rPr lang="en-US" sz="1800" b="1" smtClean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pPr algn="r"/>
                <a:t>18</a:t>
              </a:fld>
              <a:endParaRPr lang="en-US" sz="1800" b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sp>
        <p:nvSpPr>
          <p:cNvPr id="79" name="TextBox 78">
            <a:extLst>
              <a:ext uri="{FF2B5EF4-FFF2-40B4-BE49-F238E27FC236}">
                <a16:creationId xmlns:a16="http://schemas.microsoft.com/office/drawing/2014/main" id="{FD84EDE4-7022-4DDD-8A4E-C102062A1446}"/>
              </a:ext>
            </a:extLst>
          </p:cNvPr>
          <p:cNvSpPr txBox="1"/>
          <p:nvPr/>
        </p:nvSpPr>
        <p:spPr>
          <a:xfrm>
            <a:off x="3299221" y="83770"/>
            <a:ext cx="559355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i="1" dirty="0">
                <a:latin typeface="Segoe UI" panose="020B0502040204020203" pitchFamily="34" charset="0"/>
                <a:cs typeface="Segoe UI" panose="020B0502040204020203" pitchFamily="34" charset="0"/>
              </a:rPr>
              <a:t>Report </a:t>
            </a:r>
            <a:r>
              <a:rPr lang="en-US" sz="4000" b="1" i="1" dirty="0">
                <a:solidFill>
                  <a:schemeClr val="accent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able</a:t>
            </a:r>
            <a:endParaRPr lang="id-ID" sz="4000" b="1" i="1" dirty="0">
              <a:solidFill>
                <a:schemeClr val="accent4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81" name="Group 80">
            <a:extLst>
              <a:ext uri="{FF2B5EF4-FFF2-40B4-BE49-F238E27FC236}">
                <a16:creationId xmlns:a16="http://schemas.microsoft.com/office/drawing/2014/main" id="{1CE1ADFB-52FF-44B9-8D7A-826CBCA605CA}"/>
              </a:ext>
            </a:extLst>
          </p:cNvPr>
          <p:cNvGrpSpPr/>
          <p:nvPr/>
        </p:nvGrpSpPr>
        <p:grpSpPr>
          <a:xfrm rot="10800000">
            <a:off x="11739534" y="5342648"/>
            <a:ext cx="208395" cy="1314681"/>
            <a:chOff x="243840" y="162560"/>
            <a:chExt cx="325120" cy="2051050"/>
          </a:xfrm>
        </p:grpSpPr>
        <p:sp>
          <p:nvSpPr>
            <p:cNvPr id="82" name="Rectangle: Rounded Corners 81">
              <a:extLst>
                <a:ext uri="{FF2B5EF4-FFF2-40B4-BE49-F238E27FC236}">
                  <a16:creationId xmlns:a16="http://schemas.microsoft.com/office/drawing/2014/main" id="{3F216BEA-6118-417F-8457-18AF1FA3022B}"/>
                </a:ext>
              </a:extLst>
            </p:cNvPr>
            <p:cNvSpPr/>
            <p:nvPr/>
          </p:nvSpPr>
          <p:spPr>
            <a:xfrm>
              <a:off x="243840" y="162560"/>
              <a:ext cx="325120" cy="1097280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3" name="Rectangle: Rounded Corners 82">
              <a:extLst>
                <a:ext uri="{FF2B5EF4-FFF2-40B4-BE49-F238E27FC236}">
                  <a16:creationId xmlns:a16="http://schemas.microsoft.com/office/drawing/2014/main" id="{FCB1E9CF-38BC-4D49-8120-574FD7740DC1}"/>
                </a:ext>
              </a:extLst>
            </p:cNvPr>
            <p:cNvSpPr/>
            <p:nvPr/>
          </p:nvSpPr>
          <p:spPr>
            <a:xfrm>
              <a:off x="243840" y="1324610"/>
              <a:ext cx="325120" cy="508000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4" name="Rectangle: Rounded Corners 83">
              <a:extLst>
                <a:ext uri="{FF2B5EF4-FFF2-40B4-BE49-F238E27FC236}">
                  <a16:creationId xmlns:a16="http://schemas.microsoft.com/office/drawing/2014/main" id="{31A3FA28-CC03-4AF1-8A00-F73CDBFDE85C}"/>
                </a:ext>
              </a:extLst>
            </p:cNvPr>
            <p:cNvSpPr/>
            <p:nvPr/>
          </p:nvSpPr>
          <p:spPr>
            <a:xfrm>
              <a:off x="243840" y="1897380"/>
              <a:ext cx="325120" cy="316230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7" name="Gambar 16">
            <a:extLst>
              <a:ext uri="{FF2B5EF4-FFF2-40B4-BE49-F238E27FC236}">
                <a16:creationId xmlns:a16="http://schemas.microsoft.com/office/drawing/2014/main" id="{6E96B7AB-B9B2-1DDF-67F1-C1B27DA2E3F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5737" y="1208941"/>
            <a:ext cx="2967658" cy="4440117"/>
          </a:xfrm>
          <a:prstGeom prst="rect">
            <a:avLst/>
          </a:prstGeom>
        </p:spPr>
      </p:pic>
      <p:pic>
        <p:nvPicPr>
          <p:cNvPr id="21" name="Gambar 20">
            <a:extLst>
              <a:ext uri="{FF2B5EF4-FFF2-40B4-BE49-F238E27FC236}">
                <a16:creationId xmlns:a16="http://schemas.microsoft.com/office/drawing/2014/main" id="{54BA4879-4500-4678-F2C7-9677FA27EA3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36236" y="1208941"/>
            <a:ext cx="2928729" cy="4395904"/>
          </a:xfrm>
          <a:prstGeom prst="rect">
            <a:avLst/>
          </a:prstGeom>
        </p:spPr>
      </p:pic>
      <p:pic>
        <p:nvPicPr>
          <p:cNvPr id="22" name="Gambar 21">
            <a:extLst>
              <a:ext uri="{FF2B5EF4-FFF2-40B4-BE49-F238E27FC236}">
                <a16:creationId xmlns:a16="http://schemas.microsoft.com/office/drawing/2014/main" id="{D975EC14-3AB8-57A5-D88F-5EB52BB1FA3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683311" y="1208941"/>
            <a:ext cx="2800980" cy="4395904"/>
          </a:xfrm>
          <a:prstGeom prst="rect">
            <a:avLst/>
          </a:prstGeom>
        </p:spPr>
      </p:pic>
      <p:sp>
        <p:nvSpPr>
          <p:cNvPr id="23" name="Kotak Teks 22">
            <a:extLst>
              <a:ext uri="{FF2B5EF4-FFF2-40B4-BE49-F238E27FC236}">
                <a16:creationId xmlns:a16="http://schemas.microsoft.com/office/drawing/2014/main" id="{6B37BCB6-C31C-379B-5DCF-F273D5E40FF7}"/>
              </a:ext>
            </a:extLst>
          </p:cNvPr>
          <p:cNvSpPr txBox="1"/>
          <p:nvPr/>
        </p:nvSpPr>
        <p:spPr>
          <a:xfrm>
            <a:off x="1178933" y="5648067"/>
            <a:ext cx="17889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d-ID" sz="1400" dirty="0" err="1"/>
              <a:t>Table</a:t>
            </a:r>
            <a:r>
              <a:rPr lang="id-ID" sz="1400" dirty="0"/>
              <a:t> </a:t>
            </a:r>
            <a:r>
              <a:rPr lang="id-ID" sz="1400" dirty="0" err="1"/>
              <a:t>fact_district_dly</a:t>
            </a:r>
            <a:endParaRPr lang="id-ID" sz="1400" dirty="0"/>
          </a:p>
        </p:txBody>
      </p:sp>
      <p:sp>
        <p:nvSpPr>
          <p:cNvPr id="24" name="Kotak Teks 23">
            <a:extLst>
              <a:ext uri="{FF2B5EF4-FFF2-40B4-BE49-F238E27FC236}">
                <a16:creationId xmlns:a16="http://schemas.microsoft.com/office/drawing/2014/main" id="{D05C48C7-0D2D-2855-A3CA-D53D2460E732}"/>
              </a:ext>
            </a:extLst>
          </p:cNvPr>
          <p:cNvSpPr txBox="1"/>
          <p:nvPr/>
        </p:nvSpPr>
        <p:spPr>
          <a:xfrm>
            <a:off x="5127150" y="5604845"/>
            <a:ext cx="186743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d-ID" sz="1400" dirty="0" err="1"/>
              <a:t>Table</a:t>
            </a:r>
            <a:r>
              <a:rPr lang="id-ID" sz="1400" dirty="0"/>
              <a:t> </a:t>
            </a:r>
            <a:r>
              <a:rPr lang="id-ID" sz="1400" dirty="0" err="1"/>
              <a:t>fact_district_mth</a:t>
            </a:r>
            <a:endParaRPr lang="id-ID" sz="1400" dirty="0"/>
          </a:p>
        </p:txBody>
      </p:sp>
      <p:sp>
        <p:nvSpPr>
          <p:cNvPr id="25" name="Kotak Teks 24">
            <a:extLst>
              <a:ext uri="{FF2B5EF4-FFF2-40B4-BE49-F238E27FC236}">
                <a16:creationId xmlns:a16="http://schemas.microsoft.com/office/drawing/2014/main" id="{8B063470-8E71-7C11-E59B-D13E813CE436}"/>
              </a:ext>
            </a:extLst>
          </p:cNvPr>
          <p:cNvSpPr txBox="1"/>
          <p:nvPr/>
        </p:nvSpPr>
        <p:spPr>
          <a:xfrm>
            <a:off x="9014918" y="5646218"/>
            <a:ext cx="201279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d-ID" sz="1400" dirty="0" err="1"/>
              <a:t>Table</a:t>
            </a:r>
            <a:r>
              <a:rPr lang="id-ID" sz="1400" dirty="0"/>
              <a:t> </a:t>
            </a:r>
            <a:r>
              <a:rPr lang="id-ID" sz="1400" dirty="0" err="1"/>
              <a:t>fact_district_yearly</a:t>
            </a:r>
            <a:endParaRPr lang="id-ID" sz="1400" dirty="0"/>
          </a:p>
        </p:txBody>
      </p:sp>
    </p:spTree>
    <p:extLst>
      <p:ext uri="{BB962C8B-B14F-4D97-AF65-F5344CB8AC3E}">
        <p14:creationId xmlns:p14="http://schemas.microsoft.com/office/powerpoint/2010/main" val="2222081424"/>
      </p:ext>
    </p:extLst>
  </p:cSld>
  <p:clrMapOvr>
    <a:masterClrMapping/>
  </p:clrMapOvr>
  <p:transition spd="slow">
    <p:wip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Picture 38">
            <a:extLst>
              <a:ext uri="{FF2B5EF4-FFF2-40B4-BE49-F238E27FC236}">
                <a16:creationId xmlns:a16="http://schemas.microsoft.com/office/drawing/2014/main" id="{C4C912E7-E1A8-4314-BF84-2A7563BE378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B14EC8CD-C4E5-433F-A134-DF0364B71489}"/>
              </a:ext>
            </a:extLst>
          </p:cNvPr>
          <p:cNvSpPr/>
          <p:nvPr/>
        </p:nvSpPr>
        <p:spPr>
          <a:xfrm>
            <a:off x="-1" y="0"/>
            <a:ext cx="12192000" cy="6858000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A4AC4EC7-206D-48E8-8AEE-94BCB497FADB}"/>
              </a:ext>
            </a:extLst>
          </p:cNvPr>
          <p:cNvGrpSpPr/>
          <p:nvPr/>
        </p:nvGrpSpPr>
        <p:grpSpPr>
          <a:xfrm>
            <a:off x="-2" y="6422460"/>
            <a:ext cx="12192000" cy="422476"/>
            <a:chOff x="1" y="6435524"/>
            <a:chExt cx="12192000" cy="422476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215023A4-D255-4262-83C4-AAA86A106D21}"/>
                </a:ext>
              </a:extLst>
            </p:cNvPr>
            <p:cNvSpPr/>
            <p:nvPr/>
          </p:nvSpPr>
          <p:spPr>
            <a:xfrm>
              <a:off x="1" y="6435524"/>
              <a:ext cx="6096000" cy="422476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303B8D70-9438-4C93-A648-4187351CDA54}"/>
                </a:ext>
              </a:extLst>
            </p:cNvPr>
            <p:cNvSpPr/>
            <p:nvPr/>
          </p:nvSpPr>
          <p:spPr>
            <a:xfrm>
              <a:off x="6096001" y="6435524"/>
              <a:ext cx="6096000" cy="422476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82EE836-9D55-42EE-B311-E266CA8744C8}"/>
              </a:ext>
            </a:extLst>
          </p:cNvPr>
          <p:cNvGrpSpPr/>
          <p:nvPr/>
        </p:nvGrpSpPr>
        <p:grpSpPr>
          <a:xfrm rot="16200000">
            <a:off x="797214" y="-332152"/>
            <a:ext cx="208395" cy="1314681"/>
            <a:chOff x="243840" y="162560"/>
            <a:chExt cx="325120" cy="2051050"/>
          </a:xfrm>
        </p:grpSpPr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6EC91593-9F88-4B7C-A787-B03B87E36647}"/>
                </a:ext>
              </a:extLst>
            </p:cNvPr>
            <p:cNvSpPr/>
            <p:nvPr/>
          </p:nvSpPr>
          <p:spPr>
            <a:xfrm>
              <a:off x="243840" y="162560"/>
              <a:ext cx="325120" cy="1097280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E2E8634E-428B-4B97-BED7-C374891EFEE9}"/>
                </a:ext>
              </a:extLst>
            </p:cNvPr>
            <p:cNvSpPr/>
            <p:nvPr/>
          </p:nvSpPr>
          <p:spPr>
            <a:xfrm>
              <a:off x="243840" y="1324610"/>
              <a:ext cx="325120" cy="508000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871DC066-6581-41D8-BB49-1C70D95CAB94}"/>
                </a:ext>
              </a:extLst>
            </p:cNvPr>
            <p:cNvSpPr/>
            <p:nvPr/>
          </p:nvSpPr>
          <p:spPr>
            <a:xfrm>
              <a:off x="243840" y="1897380"/>
              <a:ext cx="325120" cy="316230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42" name="Rectangle 25">
            <a:extLst>
              <a:ext uri="{FF2B5EF4-FFF2-40B4-BE49-F238E27FC236}">
                <a16:creationId xmlns:a16="http://schemas.microsoft.com/office/drawing/2014/main" id="{C71A25E2-8438-C333-322C-E334C8E00419}"/>
              </a:ext>
            </a:extLst>
          </p:cNvPr>
          <p:cNvSpPr/>
          <p:nvPr/>
        </p:nvSpPr>
        <p:spPr>
          <a:xfrm>
            <a:off x="-2" y="6156330"/>
            <a:ext cx="1658798" cy="2965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sz="1200" b="1" dirty="0">
                <a:solidFill>
                  <a:schemeClr val="bg1"/>
                </a:solidFill>
                <a:latin typeface="Montserrat" panose="00000500000000000000" pitchFamily="50" charset="0"/>
                <a:cs typeface="Segoe UI" panose="020B0502040204020203" pitchFamily="34" charset="0"/>
              </a:rPr>
              <a:t>#AYOPAKAIDATA</a:t>
            </a:r>
          </a:p>
        </p:txBody>
      </p:sp>
      <p:pic>
        <p:nvPicPr>
          <p:cNvPr id="4" name="Gambar 3">
            <a:extLst>
              <a:ext uri="{FF2B5EF4-FFF2-40B4-BE49-F238E27FC236}">
                <a16:creationId xmlns:a16="http://schemas.microsoft.com/office/drawing/2014/main" id="{1E168C42-2306-A71B-6E33-E4241FA5DEE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6997" y="0"/>
            <a:ext cx="6858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9508599"/>
      </p:ext>
    </p:extLst>
  </p:cSld>
  <p:clrMapOvr>
    <a:masterClrMapping/>
  </p:clrMapOvr>
  <p:transition spd="slow">
    <p:wip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0D0B8CBE-4E97-4A47-86F9-11A4862F65B6}"/>
              </a:ext>
            </a:extLst>
          </p:cNvPr>
          <p:cNvSpPr/>
          <p:nvPr/>
        </p:nvSpPr>
        <p:spPr>
          <a:xfrm rot="1722953" flipH="1">
            <a:off x="5987510" y="-744744"/>
            <a:ext cx="7593489" cy="8190974"/>
          </a:xfrm>
          <a:custGeom>
            <a:avLst/>
            <a:gdLst>
              <a:gd name="connsiteX0" fmla="*/ 7019386 w 7593489"/>
              <a:gd name="connsiteY0" fmla="*/ 2040362 h 8190974"/>
              <a:gd name="connsiteX1" fmla="*/ 3295040 w 7593489"/>
              <a:gd name="connsiteY1" fmla="*/ 0 h 8190974"/>
              <a:gd name="connsiteX2" fmla="*/ 0 w 7593489"/>
              <a:gd name="connsiteY2" fmla="*/ 6014555 h 8190974"/>
              <a:gd name="connsiteX3" fmla="*/ 3972695 w 7593489"/>
              <a:gd name="connsiteY3" fmla="*/ 8190974 h 8190974"/>
              <a:gd name="connsiteX4" fmla="*/ 4305338 w 7593489"/>
              <a:gd name="connsiteY4" fmla="*/ 8096505 h 8190974"/>
              <a:gd name="connsiteX5" fmla="*/ 7574732 w 7593489"/>
              <a:gd name="connsiteY5" fmla="*/ 4475337 h 8190974"/>
              <a:gd name="connsiteX6" fmla="*/ 7186453 w 7593489"/>
              <a:gd name="connsiteY6" fmla="*/ 2363351 h 8190974"/>
              <a:gd name="connsiteX7" fmla="*/ 7074582 w 7593489"/>
              <a:gd name="connsiteY7" fmla="*/ 2138819 h 819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593489" h="8190974">
                <a:moveTo>
                  <a:pt x="7019386" y="2040362"/>
                </a:moveTo>
                <a:lnTo>
                  <a:pt x="3295040" y="0"/>
                </a:lnTo>
                <a:lnTo>
                  <a:pt x="0" y="6014555"/>
                </a:lnTo>
                <a:lnTo>
                  <a:pt x="3972695" y="8190974"/>
                </a:lnTo>
                <a:lnTo>
                  <a:pt x="4305338" y="8096505"/>
                </a:lnTo>
                <a:cubicBezTo>
                  <a:pt x="5902664" y="7589802"/>
                  <a:pt x="7374227" y="6466026"/>
                  <a:pt x="7574732" y="4475337"/>
                </a:cubicBezTo>
                <a:cubicBezTo>
                  <a:pt x="7651115" y="3726153"/>
                  <a:pt x="7488799" y="3009078"/>
                  <a:pt x="7186453" y="2363351"/>
                </a:cubicBezTo>
                <a:cubicBezTo>
                  <a:pt x="7151046" y="2287540"/>
                  <a:pt x="7113700" y="2212678"/>
                  <a:pt x="7074582" y="2138819"/>
                </a:cubicBezTo>
                <a:close/>
              </a:path>
            </a:pathLst>
          </a:custGeom>
          <a:solidFill>
            <a:schemeClr val="accent4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A8E8C898-D26C-4473-9DB6-94BA8B6F161D}"/>
              </a:ext>
            </a:extLst>
          </p:cNvPr>
          <p:cNvGrpSpPr/>
          <p:nvPr/>
        </p:nvGrpSpPr>
        <p:grpSpPr>
          <a:xfrm rot="16200000">
            <a:off x="797214" y="-332152"/>
            <a:ext cx="208395" cy="1314681"/>
            <a:chOff x="243840" y="162560"/>
            <a:chExt cx="325120" cy="2051050"/>
          </a:xfrm>
        </p:grpSpPr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B83F1311-4AD9-45C0-96A3-B61E80001B57}"/>
                </a:ext>
              </a:extLst>
            </p:cNvPr>
            <p:cNvSpPr/>
            <p:nvPr/>
          </p:nvSpPr>
          <p:spPr>
            <a:xfrm>
              <a:off x="243840" y="162560"/>
              <a:ext cx="325120" cy="1097280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CFEAE92A-90F7-4059-8EC1-C527756C4434}"/>
                </a:ext>
              </a:extLst>
            </p:cNvPr>
            <p:cNvSpPr/>
            <p:nvPr/>
          </p:nvSpPr>
          <p:spPr>
            <a:xfrm>
              <a:off x="243840" y="1324610"/>
              <a:ext cx="325120" cy="508000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FEC72691-C6AF-4865-ACA8-0F738B231A05}"/>
                </a:ext>
              </a:extLst>
            </p:cNvPr>
            <p:cNvSpPr/>
            <p:nvPr/>
          </p:nvSpPr>
          <p:spPr>
            <a:xfrm>
              <a:off x="243840" y="1897380"/>
              <a:ext cx="325120" cy="316230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B6647C7C-F6DD-410B-A8F6-8673D7613CC3}"/>
              </a:ext>
            </a:extLst>
          </p:cNvPr>
          <p:cNvGrpSpPr/>
          <p:nvPr/>
        </p:nvGrpSpPr>
        <p:grpSpPr>
          <a:xfrm rot="10800000">
            <a:off x="11739534" y="5342648"/>
            <a:ext cx="208395" cy="1314681"/>
            <a:chOff x="243840" y="162560"/>
            <a:chExt cx="325120" cy="2051050"/>
          </a:xfrm>
        </p:grpSpPr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C0496206-E703-4EBA-83BD-EC030E5B8F72}"/>
                </a:ext>
              </a:extLst>
            </p:cNvPr>
            <p:cNvSpPr/>
            <p:nvPr/>
          </p:nvSpPr>
          <p:spPr>
            <a:xfrm>
              <a:off x="243840" y="162560"/>
              <a:ext cx="325120" cy="1097280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7524B203-8DE0-4FBB-AC02-7E6D8433986F}"/>
                </a:ext>
              </a:extLst>
            </p:cNvPr>
            <p:cNvSpPr/>
            <p:nvPr/>
          </p:nvSpPr>
          <p:spPr>
            <a:xfrm>
              <a:off x="243840" y="1324610"/>
              <a:ext cx="325120" cy="508000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Rectangle: Rounded Corners 21">
              <a:extLst>
                <a:ext uri="{FF2B5EF4-FFF2-40B4-BE49-F238E27FC236}">
                  <a16:creationId xmlns:a16="http://schemas.microsoft.com/office/drawing/2014/main" id="{F3A46B7C-EFCE-4509-A075-D296A8C14116}"/>
                </a:ext>
              </a:extLst>
            </p:cNvPr>
            <p:cNvSpPr/>
            <p:nvPr/>
          </p:nvSpPr>
          <p:spPr>
            <a:xfrm>
              <a:off x="243840" y="1897380"/>
              <a:ext cx="325120" cy="316230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6" name="Rectangle 25">
            <a:extLst>
              <a:ext uri="{FF2B5EF4-FFF2-40B4-BE49-F238E27FC236}">
                <a16:creationId xmlns:a16="http://schemas.microsoft.com/office/drawing/2014/main" id="{BB56E25D-E464-4695-898F-075661BEA835}"/>
              </a:ext>
            </a:extLst>
          </p:cNvPr>
          <p:cNvSpPr/>
          <p:nvPr/>
        </p:nvSpPr>
        <p:spPr>
          <a:xfrm>
            <a:off x="161037" y="6374139"/>
            <a:ext cx="1671091" cy="2965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sz="1200" b="1" dirty="0">
                <a:solidFill>
                  <a:schemeClr val="tx2">
                    <a:lumMod val="50000"/>
                  </a:schemeClr>
                </a:solidFill>
                <a:latin typeface="Montserrat" panose="00000500000000000000" pitchFamily="50" charset="0"/>
                <a:cs typeface="Segoe UI" panose="020B0502040204020203" pitchFamily="34" charset="0"/>
              </a:rPr>
              <a:t>#AYOPAKAIDATA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E6EE737-585F-4B11-8843-C452B3237CF9}"/>
              </a:ext>
            </a:extLst>
          </p:cNvPr>
          <p:cNvSpPr txBox="1"/>
          <p:nvPr/>
        </p:nvSpPr>
        <p:spPr>
          <a:xfrm>
            <a:off x="788188" y="621411"/>
            <a:ext cx="3305756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i="1" dirty="0" err="1">
                <a:latin typeface="Segoe UI" panose="020B0502040204020203" pitchFamily="34" charset="0"/>
                <a:cs typeface="Segoe UI" panose="020B0502040204020203" pitchFamily="34" charset="0"/>
              </a:rPr>
              <a:t>Latar</a:t>
            </a:r>
            <a:r>
              <a:rPr lang="en-US" sz="4000" b="1" i="1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4000" b="1" i="1" dirty="0" err="1">
                <a:solidFill>
                  <a:schemeClr val="accent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elakang</a:t>
            </a:r>
            <a:endParaRPr lang="id-ID" sz="4000" b="1" i="1" dirty="0">
              <a:solidFill>
                <a:schemeClr val="accent4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7" name="TextBox 8">
            <a:extLst>
              <a:ext uri="{FF2B5EF4-FFF2-40B4-BE49-F238E27FC236}">
                <a16:creationId xmlns:a16="http://schemas.microsoft.com/office/drawing/2014/main" id="{9FAC73D6-5D5D-4761-B4E2-645B10599C5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6236" y="2295660"/>
            <a:ext cx="4311177" cy="3046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457200" indent="-4572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1pPr>
            <a:lvl2pPr marL="742950" indent="-28575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2pPr>
            <a:lvl3pPr marL="11430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3pPr>
            <a:lvl4pPr marL="16002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4pPr>
            <a:lvl5pPr marL="20574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5pPr>
            <a:lvl6pPr marL="2514600" indent="-228600" algn="l" defTabSz="825500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6pPr>
            <a:lvl7pPr marL="2971800" indent="-228600" algn="l" defTabSz="825500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7pPr>
            <a:lvl8pPr marL="3429000" indent="-228600" algn="l" defTabSz="825500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8pPr>
            <a:lvl9pPr marL="3886200" indent="-228600" algn="l" defTabSz="825500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9pPr>
          </a:lstStyle>
          <a:p>
            <a:pPr marL="0" indent="0" algn="just">
              <a:buClr>
                <a:schemeClr val="tx2"/>
              </a:buClr>
            </a:pPr>
            <a:r>
              <a:rPr lang="en-US" sz="1600" b="0" dirty="0" err="1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Dalam</a:t>
            </a:r>
            <a:r>
              <a:rPr lang="en-US" sz="1600" b="0" dirty="0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 </a:t>
            </a:r>
            <a:r>
              <a:rPr lang="en-US" sz="1600" b="0" dirty="0" err="1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rangka</a:t>
            </a:r>
            <a:r>
              <a:rPr lang="en-US" sz="1600" b="0" dirty="0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 </a:t>
            </a:r>
            <a:r>
              <a:rPr lang="en-US" sz="1600" b="0" dirty="0" err="1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menyambut</a:t>
            </a:r>
            <a:r>
              <a:rPr lang="en-US" sz="1600" b="0" dirty="0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 </a:t>
            </a:r>
            <a:r>
              <a:rPr lang="en-US" sz="1600" b="0" dirty="0" err="1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liburan</a:t>
            </a:r>
            <a:r>
              <a:rPr lang="en-US" sz="1600" b="0" dirty="0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 </a:t>
            </a:r>
            <a:r>
              <a:rPr lang="en-US" sz="1600" b="0" dirty="0" err="1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hari</a:t>
            </a:r>
            <a:r>
              <a:rPr lang="en-US" sz="1600" b="0" dirty="0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 </a:t>
            </a:r>
            <a:r>
              <a:rPr lang="en-US" sz="1600" b="0" dirty="0" err="1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raya</a:t>
            </a:r>
            <a:r>
              <a:rPr lang="en-US" sz="1600" b="0" dirty="0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 </a:t>
            </a:r>
            <a:r>
              <a:rPr lang="en-US" sz="1600" b="0" dirty="0" err="1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idul</a:t>
            </a:r>
            <a:r>
              <a:rPr lang="en-US" sz="1600" b="0" dirty="0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 </a:t>
            </a:r>
            <a:r>
              <a:rPr lang="en-US" sz="1600" b="0" dirty="0" err="1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fitri</a:t>
            </a:r>
            <a:r>
              <a:rPr lang="en-US" sz="1600" b="0" dirty="0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 1443 H dan </a:t>
            </a:r>
            <a:r>
              <a:rPr lang="en-US" sz="1600" b="0" dirty="0" err="1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sehubungan</a:t>
            </a:r>
            <a:r>
              <a:rPr lang="en-US" sz="1600" b="0" dirty="0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 </a:t>
            </a:r>
            <a:r>
              <a:rPr lang="en-US" sz="1600" b="0" dirty="0" err="1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akan</a:t>
            </a:r>
            <a:r>
              <a:rPr lang="en-US" sz="1600" b="0" dirty="0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 </a:t>
            </a:r>
            <a:r>
              <a:rPr lang="en-US" sz="1600" b="0" dirty="0" err="1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dibukanya</a:t>
            </a:r>
            <a:r>
              <a:rPr lang="en-US" sz="1600" b="0" dirty="0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 </a:t>
            </a:r>
            <a:r>
              <a:rPr lang="en-US" sz="1600" b="0" dirty="0" err="1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beberapa</a:t>
            </a:r>
            <a:r>
              <a:rPr lang="en-US" sz="1600" b="0" dirty="0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 </a:t>
            </a:r>
            <a:r>
              <a:rPr lang="en-US" sz="1600" b="0" dirty="0" err="1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tempat</a:t>
            </a:r>
            <a:r>
              <a:rPr lang="en-US" sz="1600" b="0" dirty="0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 </a:t>
            </a:r>
            <a:r>
              <a:rPr lang="en-US" sz="1600" b="0" dirty="0" err="1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wisata</a:t>
            </a:r>
            <a:r>
              <a:rPr lang="en-US" sz="1600" b="0" dirty="0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 di </a:t>
            </a:r>
            <a:r>
              <a:rPr lang="en-US" sz="1600" b="0" dirty="0" err="1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provinsi</a:t>
            </a:r>
            <a:r>
              <a:rPr lang="en-US" sz="1600" b="0" dirty="0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 </a:t>
            </a:r>
            <a:r>
              <a:rPr lang="en-US" sz="1600" b="0" dirty="0" err="1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Jawa</a:t>
            </a:r>
            <a:r>
              <a:rPr lang="en-US" sz="1600" b="0" dirty="0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 Barat, </a:t>
            </a:r>
            <a:r>
              <a:rPr lang="en-US" sz="1600" b="0" dirty="0" err="1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pemerintah</a:t>
            </a:r>
            <a:r>
              <a:rPr lang="en-US" sz="1600" b="0" dirty="0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 </a:t>
            </a:r>
            <a:r>
              <a:rPr lang="en-US" sz="1600" b="0" dirty="0" err="1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tentunya</a:t>
            </a:r>
            <a:r>
              <a:rPr lang="en-US" sz="1600" b="0" dirty="0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 </a:t>
            </a:r>
            <a:r>
              <a:rPr lang="en-US" sz="1600" b="0" dirty="0" err="1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ingin</a:t>
            </a:r>
            <a:r>
              <a:rPr lang="en-US" sz="1600" b="0" dirty="0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 </a:t>
            </a:r>
            <a:r>
              <a:rPr lang="en-US" sz="1600" b="0" dirty="0" err="1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mengetahui</a:t>
            </a:r>
            <a:r>
              <a:rPr lang="en-US" sz="1600" b="0" dirty="0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 </a:t>
            </a:r>
            <a:r>
              <a:rPr lang="en-US" sz="1600" b="0" dirty="0" err="1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apakah</a:t>
            </a:r>
            <a:r>
              <a:rPr lang="en-US" sz="1600" b="0" dirty="0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 di wilayah </a:t>
            </a:r>
            <a:r>
              <a:rPr lang="en-US" sz="1600" b="0" dirty="0" err="1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Jawa</a:t>
            </a:r>
            <a:r>
              <a:rPr lang="en-US" sz="1600" b="0" dirty="0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 Barat </a:t>
            </a:r>
            <a:r>
              <a:rPr lang="en-US" sz="1600" b="0" dirty="0" err="1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sudah</a:t>
            </a:r>
            <a:r>
              <a:rPr lang="en-US" sz="1600" b="0" dirty="0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 </a:t>
            </a:r>
            <a:r>
              <a:rPr lang="en-US" sz="1600" b="0" dirty="0" err="1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tergolong</a:t>
            </a:r>
            <a:r>
              <a:rPr lang="en-US" sz="1600" b="0" dirty="0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 </a:t>
            </a:r>
            <a:r>
              <a:rPr lang="en-US" sz="1600" b="0" dirty="0" err="1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aman</a:t>
            </a:r>
            <a:r>
              <a:rPr lang="en-US" sz="1600" b="0" dirty="0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 </a:t>
            </a:r>
            <a:r>
              <a:rPr lang="en-US" sz="1600" b="0" dirty="0" err="1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atau</a:t>
            </a:r>
            <a:r>
              <a:rPr lang="en-US" sz="1600" b="0" dirty="0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 </a:t>
            </a:r>
            <a:r>
              <a:rPr lang="en-US" sz="1600" b="0" dirty="0" err="1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belum</a:t>
            </a:r>
            <a:r>
              <a:rPr lang="en-US" sz="1600" b="0" dirty="0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 </a:t>
            </a:r>
            <a:r>
              <a:rPr lang="en-US" sz="1600" b="0" dirty="0" err="1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dari</a:t>
            </a:r>
            <a:r>
              <a:rPr lang="en-US" sz="1600" b="0" dirty="0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 covid-19. </a:t>
            </a:r>
          </a:p>
          <a:p>
            <a:pPr marL="0" indent="0" algn="just">
              <a:buClr>
                <a:schemeClr val="tx2"/>
              </a:buClr>
            </a:pPr>
            <a:endParaRPr lang="en-US" sz="1600" b="0" dirty="0">
              <a:solidFill>
                <a:schemeClr val="tx1"/>
              </a:solidFill>
              <a:latin typeface="Segoe UI Light" panose="020B0502040204020203" pitchFamily="34" charset="0"/>
              <a:cs typeface="Arial" panose="020B0604020202020204" pitchFamily="34" charset="0"/>
            </a:endParaRPr>
          </a:p>
          <a:p>
            <a:pPr marL="0" indent="0" algn="just">
              <a:buClr>
                <a:schemeClr val="tx2"/>
              </a:buClr>
            </a:pPr>
            <a:r>
              <a:rPr lang="en-US" sz="1600" b="0" dirty="0" err="1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Maka</a:t>
            </a:r>
            <a:r>
              <a:rPr lang="en-US" sz="1600" b="0" dirty="0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 </a:t>
            </a:r>
            <a:r>
              <a:rPr lang="en-US" sz="1600" b="0" dirty="0" err="1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dari</a:t>
            </a:r>
            <a:r>
              <a:rPr lang="en-US" sz="1600" b="0" dirty="0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 </a:t>
            </a:r>
            <a:r>
              <a:rPr lang="en-US" sz="1600" b="0" dirty="0" err="1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itu</a:t>
            </a:r>
            <a:r>
              <a:rPr lang="en-US" sz="1600" b="0" dirty="0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, kami </a:t>
            </a:r>
            <a:r>
              <a:rPr lang="en-US" sz="1600" b="0" dirty="0" err="1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diminta</a:t>
            </a:r>
            <a:r>
              <a:rPr lang="en-US" sz="1600" b="0" dirty="0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 oleh Pak </a:t>
            </a:r>
            <a:r>
              <a:rPr lang="en-US" sz="1600" b="0" dirty="0" err="1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Gubernur</a:t>
            </a:r>
            <a:r>
              <a:rPr lang="en-US" sz="1600" b="0" dirty="0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  </a:t>
            </a:r>
            <a:r>
              <a:rPr lang="en-US" sz="1600" b="0" dirty="0" err="1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untuk</a:t>
            </a:r>
            <a:r>
              <a:rPr lang="en-US" sz="1600" b="0" dirty="0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 </a:t>
            </a:r>
            <a:r>
              <a:rPr lang="en-US" sz="1600" b="0" dirty="0" err="1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menyajikan</a:t>
            </a:r>
            <a:r>
              <a:rPr lang="en-US" sz="1600" b="0" dirty="0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 data </a:t>
            </a:r>
            <a:r>
              <a:rPr lang="en-US" sz="1600" b="0" dirty="0" err="1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perkembangan</a:t>
            </a:r>
            <a:r>
              <a:rPr lang="en-US" sz="1600" b="0" dirty="0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 covid-19 </a:t>
            </a:r>
            <a:r>
              <a:rPr lang="en-US" sz="1600" b="0" dirty="0" err="1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khususnya</a:t>
            </a:r>
            <a:r>
              <a:rPr lang="en-US" sz="1600" b="0" dirty="0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 wilayah </a:t>
            </a:r>
            <a:r>
              <a:rPr lang="en-US" sz="1600" b="0" dirty="0" err="1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Jawa</a:t>
            </a:r>
            <a:r>
              <a:rPr lang="en-US" sz="1600" b="0" dirty="0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 Barat agar </a:t>
            </a:r>
            <a:r>
              <a:rPr lang="en-US" sz="1600" b="0" dirty="0" err="1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pemerintah</a:t>
            </a:r>
            <a:r>
              <a:rPr lang="en-US" sz="1600" b="0" dirty="0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 </a:t>
            </a:r>
            <a:r>
              <a:rPr lang="en-US" sz="1600" b="0" dirty="0" err="1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dapat</a:t>
            </a:r>
            <a:r>
              <a:rPr lang="en-US" sz="1600" b="0" dirty="0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 </a:t>
            </a:r>
            <a:r>
              <a:rPr lang="en-US" sz="1600" b="0" dirty="0" err="1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mengambil</a:t>
            </a:r>
            <a:r>
              <a:rPr lang="en-US" sz="1600" b="0" dirty="0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 </a:t>
            </a:r>
            <a:r>
              <a:rPr lang="en-US" sz="1600" b="0" dirty="0" err="1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keputusan</a:t>
            </a:r>
            <a:r>
              <a:rPr lang="en-US" sz="1600" b="0" dirty="0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 </a:t>
            </a:r>
            <a:r>
              <a:rPr lang="en-US" sz="1600" b="0" dirty="0" err="1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untuk</a:t>
            </a:r>
            <a:r>
              <a:rPr lang="en-US" sz="1600" b="0" dirty="0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 </a:t>
            </a:r>
            <a:r>
              <a:rPr lang="en-US" sz="1600" b="0" dirty="0" err="1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dibukanya</a:t>
            </a:r>
            <a:r>
              <a:rPr lang="en-US" sz="1600" b="0" dirty="0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 </a:t>
            </a:r>
            <a:r>
              <a:rPr lang="en-US" sz="1600" b="0" dirty="0" err="1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tempat</a:t>
            </a:r>
            <a:r>
              <a:rPr lang="en-US" sz="1600" b="0" dirty="0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 </a:t>
            </a:r>
            <a:r>
              <a:rPr lang="en-US" sz="1600" b="0" dirty="0" err="1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wisata</a:t>
            </a:r>
            <a:r>
              <a:rPr lang="en-US" sz="1600" b="0" dirty="0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 </a:t>
            </a:r>
            <a:r>
              <a:rPr lang="en-US" sz="1600" b="0" dirty="0" err="1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atau</a:t>
            </a:r>
            <a:r>
              <a:rPr lang="en-US" sz="1600" b="0" dirty="0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 </a:t>
            </a:r>
            <a:r>
              <a:rPr lang="en-US" sz="1600" b="0" dirty="0" err="1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tidak</a:t>
            </a:r>
            <a:r>
              <a:rPr lang="en-US" sz="1600" b="0" dirty="0">
                <a:solidFill>
                  <a:schemeClr val="tx1"/>
                </a:solidFill>
                <a:latin typeface="Segoe UI Light" panose="020B0502040204020203" pitchFamily="34" charset="0"/>
                <a:cs typeface="Arial" panose="020B0604020202020204" pitchFamily="34" charset="0"/>
              </a:rPr>
              <a:t>.</a:t>
            </a:r>
          </a:p>
        </p:txBody>
      </p:sp>
      <p:pic>
        <p:nvPicPr>
          <p:cNvPr id="2050" name="Picture 2" descr="Insentif Nakes Pejuang Covid-19 Dipotong 50 Persen, PKS: Ironis! - Kabar24  Bisnis.com">
            <a:extLst>
              <a:ext uri="{FF2B5EF4-FFF2-40B4-BE49-F238E27FC236}">
                <a16:creationId xmlns:a16="http://schemas.microsoft.com/office/drawing/2014/main" id="{717EF149-5038-B3DD-6239-427A67FFC3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59387" y="2270695"/>
            <a:ext cx="4881912" cy="30511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Lowongan di Dinas Pendidikan Provinsi Jawa Barat | Qerja">
            <a:extLst>
              <a:ext uri="{FF2B5EF4-FFF2-40B4-BE49-F238E27FC236}">
                <a16:creationId xmlns:a16="http://schemas.microsoft.com/office/drawing/2014/main" id="{52BF6827-65C6-2747-5204-7F9089298E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86128" y="621411"/>
            <a:ext cx="1396252" cy="13962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22651285"/>
      </p:ext>
    </p:extLst>
  </p:cSld>
  <p:clrMapOvr>
    <a:masterClrMapping/>
  </p:clrMapOvr>
  <p:transition spd="slow">
    <p:wip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Rectangle 56">
            <a:extLst>
              <a:ext uri="{FF2B5EF4-FFF2-40B4-BE49-F238E27FC236}">
                <a16:creationId xmlns:a16="http://schemas.microsoft.com/office/drawing/2014/main" id="{C6DB0B50-878D-48DE-987E-ADD15A091803}"/>
              </a:ext>
            </a:extLst>
          </p:cNvPr>
          <p:cNvSpPr/>
          <p:nvPr/>
        </p:nvSpPr>
        <p:spPr>
          <a:xfrm>
            <a:off x="1" y="0"/>
            <a:ext cx="203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>
            <a:outerShdw blurRad="1270000" sx="102000" sy="102000" algn="ctr" rotWithShape="0">
              <a:prstClr val="black">
                <a:alpha val="3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6EB0C549-08A4-4AEC-8FD3-C4A48E3B6831}"/>
              </a:ext>
            </a:extLst>
          </p:cNvPr>
          <p:cNvSpPr/>
          <p:nvPr/>
        </p:nvSpPr>
        <p:spPr>
          <a:xfrm>
            <a:off x="2032001" y="0"/>
            <a:ext cx="203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  <a:effectLst>
            <a:outerShdw blurRad="1270000" sx="102000" sy="102000" algn="ctr" rotWithShape="0">
              <a:prstClr val="black">
                <a:alpha val="3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20853147-03E9-4952-9B67-078DDB0BB5EA}"/>
              </a:ext>
            </a:extLst>
          </p:cNvPr>
          <p:cNvSpPr/>
          <p:nvPr/>
        </p:nvSpPr>
        <p:spPr>
          <a:xfrm>
            <a:off x="4064001" y="0"/>
            <a:ext cx="203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>
            <a:outerShdw blurRad="1270000" sx="102000" sy="102000" algn="ctr" rotWithShape="0">
              <a:prstClr val="black">
                <a:alpha val="3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06E931A9-23AF-4486-9D8B-F831930A7B24}"/>
              </a:ext>
            </a:extLst>
          </p:cNvPr>
          <p:cNvSpPr/>
          <p:nvPr/>
        </p:nvSpPr>
        <p:spPr>
          <a:xfrm>
            <a:off x="6096001" y="0"/>
            <a:ext cx="203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  <a:effectLst>
            <a:outerShdw blurRad="1270000" sx="102000" sy="102000" algn="ctr" rotWithShape="0">
              <a:prstClr val="black">
                <a:alpha val="3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7CA20061-E2B6-41D1-BA30-D5ABECA7F324}"/>
              </a:ext>
            </a:extLst>
          </p:cNvPr>
          <p:cNvSpPr/>
          <p:nvPr/>
        </p:nvSpPr>
        <p:spPr>
          <a:xfrm>
            <a:off x="8128001" y="0"/>
            <a:ext cx="203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>
            <a:outerShdw blurRad="1270000" sx="102000" sy="102000" algn="ctr" rotWithShape="0">
              <a:prstClr val="black">
                <a:alpha val="3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4A038089-D4CA-4E06-864D-7BC7D42D72EF}"/>
              </a:ext>
            </a:extLst>
          </p:cNvPr>
          <p:cNvSpPr/>
          <p:nvPr/>
        </p:nvSpPr>
        <p:spPr>
          <a:xfrm>
            <a:off x="10160001" y="0"/>
            <a:ext cx="203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  <a:effectLst>
            <a:outerShdw blurRad="1270000" sx="102000" sy="102000" algn="ctr" rotWithShape="0">
              <a:prstClr val="black">
                <a:alpha val="3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2E223222-1D22-4535-94DC-948C64F30C65}"/>
              </a:ext>
            </a:extLst>
          </p:cNvPr>
          <p:cNvSpPr txBox="1"/>
          <p:nvPr/>
        </p:nvSpPr>
        <p:spPr>
          <a:xfrm>
            <a:off x="1864250" y="2705722"/>
            <a:ext cx="8463500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800" dirty="0">
                <a:solidFill>
                  <a:schemeClr val="bg1"/>
                </a:solidFill>
                <a:latin typeface="Montserrat Alternates Black" panose="00000A00000000000000" pitchFamily="50" charset="0"/>
              </a:rPr>
              <a:t>THANKYOU</a:t>
            </a:r>
            <a:endParaRPr lang="id-ID" sz="8800" dirty="0">
              <a:solidFill>
                <a:schemeClr val="bg1"/>
              </a:solidFill>
              <a:latin typeface="Montserrat Alternates Black" panose="00000A00000000000000" pitchFamily="50" charset="0"/>
            </a:endParaRP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D1D982FF-11B9-4716-B960-5889E122DE94}"/>
              </a:ext>
            </a:extLst>
          </p:cNvPr>
          <p:cNvGrpSpPr/>
          <p:nvPr/>
        </p:nvGrpSpPr>
        <p:grpSpPr>
          <a:xfrm rot="16200000">
            <a:off x="797214" y="-332152"/>
            <a:ext cx="208395" cy="1314681"/>
            <a:chOff x="243840" y="162560"/>
            <a:chExt cx="325120" cy="2051050"/>
          </a:xfrm>
          <a:solidFill>
            <a:schemeClr val="accent1"/>
          </a:solidFill>
        </p:grpSpPr>
        <p:sp>
          <p:nvSpPr>
            <p:cNvPr id="41" name="Rectangle: Rounded Corners 40">
              <a:extLst>
                <a:ext uri="{FF2B5EF4-FFF2-40B4-BE49-F238E27FC236}">
                  <a16:creationId xmlns:a16="http://schemas.microsoft.com/office/drawing/2014/main" id="{A52F5D1A-F4C0-4D1A-B2C5-93D4B841FC19}"/>
                </a:ext>
              </a:extLst>
            </p:cNvPr>
            <p:cNvSpPr/>
            <p:nvPr/>
          </p:nvSpPr>
          <p:spPr>
            <a:xfrm>
              <a:off x="243840" y="162560"/>
              <a:ext cx="325120" cy="109728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" name="Rectangle: Rounded Corners 41">
              <a:extLst>
                <a:ext uri="{FF2B5EF4-FFF2-40B4-BE49-F238E27FC236}">
                  <a16:creationId xmlns:a16="http://schemas.microsoft.com/office/drawing/2014/main" id="{88FD29C0-CDE9-47FC-9C7E-2734FCC3181B}"/>
                </a:ext>
              </a:extLst>
            </p:cNvPr>
            <p:cNvSpPr/>
            <p:nvPr/>
          </p:nvSpPr>
          <p:spPr>
            <a:xfrm>
              <a:off x="243840" y="1324610"/>
              <a:ext cx="325120" cy="508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" name="Rectangle: Rounded Corners 42">
              <a:extLst>
                <a:ext uri="{FF2B5EF4-FFF2-40B4-BE49-F238E27FC236}">
                  <a16:creationId xmlns:a16="http://schemas.microsoft.com/office/drawing/2014/main" id="{FD6393F1-71A6-4AFD-B440-9E946CC2EC8A}"/>
                </a:ext>
              </a:extLst>
            </p:cNvPr>
            <p:cNvSpPr/>
            <p:nvPr/>
          </p:nvSpPr>
          <p:spPr>
            <a:xfrm>
              <a:off x="243840" y="1897380"/>
              <a:ext cx="325120" cy="31623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ADC56C6A-E824-4DD5-B4CC-F7B088D24113}"/>
              </a:ext>
            </a:extLst>
          </p:cNvPr>
          <p:cNvGrpSpPr/>
          <p:nvPr/>
        </p:nvGrpSpPr>
        <p:grpSpPr>
          <a:xfrm rot="10800000">
            <a:off x="11739534" y="5342648"/>
            <a:ext cx="208395" cy="1314681"/>
            <a:chOff x="243840" y="162560"/>
            <a:chExt cx="325120" cy="2051050"/>
          </a:xfrm>
          <a:solidFill>
            <a:schemeClr val="accent1"/>
          </a:solidFill>
        </p:grpSpPr>
        <p:sp>
          <p:nvSpPr>
            <p:cNvPr id="45" name="Rectangle: Rounded Corners 44">
              <a:extLst>
                <a:ext uri="{FF2B5EF4-FFF2-40B4-BE49-F238E27FC236}">
                  <a16:creationId xmlns:a16="http://schemas.microsoft.com/office/drawing/2014/main" id="{559C384E-7732-4ED1-BAD9-DA49BACF23F6}"/>
                </a:ext>
              </a:extLst>
            </p:cNvPr>
            <p:cNvSpPr/>
            <p:nvPr/>
          </p:nvSpPr>
          <p:spPr>
            <a:xfrm>
              <a:off x="243840" y="162560"/>
              <a:ext cx="325120" cy="109728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" name="Rectangle: Rounded Corners 45">
              <a:extLst>
                <a:ext uri="{FF2B5EF4-FFF2-40B4-BE49-F238E27FC236}">
                  <a16:creationId xmlns:a16="http://schemas.microsoft.com/office/drawing/2014/main" id="{5D3AC9A5-7749-41E6-88FC-D648D370EDEA}"/>
                </a:ext>
              </a:extLst>
            </p:cNvPr>
            <p:cNvSpPr/>
            <p:nvPr/>
          </p:nvSpPr>
          <p:spPr>
            <a:xfrm>
              <a:off x="243840" y="1324610"/>
              <a:ext cx="325120" cy="508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7" name="Rectangle: Rounded Corners 46">
              <a:extLst>
                <a:ext uri="{FF2B5EF4-FFF2-40B4-BE49-F238E27FC236}">
                  <a16:creationId xmlns:a16="http://schemas.microsoft.com/office/drawing/2014/main" id="{CCFBA7B5-56BF-472F-A8F0-D37E04153DBE}"/>
                </a:ext>
              </a:extLst>
            </p:cNvPr>
            <p:cNvSpPr/>
            <p:nvPr/>
          </p:nvSpPr>
          <p:spPr>
            <a:xfrm>
              <a:off x="243840" y="1897380"/>
              <a:ext cx="325120" cy="31623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28" name="Picture 26">
            <a:extLst>
              <a:ext uri="{FF2B5EF4-FFF2-40B4-BE49-F238E27FC236}">
                <a16:creationId xmlns:a16="http://schemas.microsoft.com/office/drawing/2014/main" id="{EBA2FB8D-D54B-DD61-FD9A-D8D738DA7B4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062" b="20062"/>
          <a:stretch/>
        </p:blipFill>
        <p:spPr>
          <a:xfrm>
            <a:off x="697870" y="1323269"/>
            <a:ext cx="10931141" cy="4365625"/>
          </a:xfrm>
          <a:custGeom>
            <a:avLst/>
            <a:gdLst>
              <a:gd name="connsiteX0" fmla="*/ 2182813 w 10931141"/>
              <a:gd name="connsiteY0" fmla="*/ 0 h 4365625"/>
              <a:gd name="connsiteX1" fmla="*/ 2182813 w 10931141"/>
              <a:gd name="connsiteY1" fmla="*/ 12672 h 4365625"/>
              <a:gd name="connsiteX2" fmla="*/ 2266114 w 10931141"/>
              <a:gd name="connsiteY2" fmla="*/ 4274 h 4365625"/>
              <a:gd name="connsiteX3" fmla="*/ 10380099 w 10931141"/>
              <a:gd name="connsiteY3" fmla="*/ 4274 h 4365625"/>
              <a:gd name="connsiteX4" fmla="*/ 10931141 w 10931141"/>
              <a:gd name="connsiteY4" fmla="*/ 555317 h 4365625"/>
              <a:gd name="connsiteX5" fmla="*/ 10380099 w 10931141"/>
              <a:gd name="connsiteY5" fmla="*/ 1106359 h 4365625"/>
              <a:gd name="connsiteX6" fmla="*/ 2266114 w 10931141"/>
              <a:gd name="connsiteY6" fmla="*/ 1106359 h 4365625"/>
              <a:gd name="connsiteX7" fmla="*/ 2155061 w 10931141"/>
              <a:gd name="connsiteY7" fmla="*/ 1095164 h 4365625"/>
              <a:gd name="connsiteX8" fmla="*/ 2148535 w 10931141"/>
              <a:gd name="connsiteY8" fmla="*/ 1093138 h 4365625"/>
              <a:gd name="connsiteX9" fmla="*/ 2071223 w 10931141"/>
              <a:gd name="connsiteY9" fmla="*/ 1097042 h 4365625"/>
              <a:gd name="connsiteX10" fmla="*/ 1091406 w 10931141"/>
              <a:gd name="connsiteY10" fmla="*/ 2182814 h 4365625"/>
              <a:gd name="connsiteX11" fmla="*/ 2071225 w 10931141"/>
              <a:gd name="connsiteY11" fmla="*/ 3268586 h 4365625"/>
              <a:gd name="connsiteX12" fmla="*/ 2167729 w 10931141"/>
              <a:gd name="connsiteY12" fmla="*/ 3273459 h 4365625"/>
              <a:gd name="connsiteX13" fmla="*/ 2266114 w 10931141"/>
              <a:gd name="connsiteY13" fmla="*/ 3263540 h 4365625"/>
              <a:gd name="connsiteX14" fmla="*/ 3460033 w 10931141"/>
              <a:gd name="connsiteY14" fmla="*/ 3263540 h 4365625"/>
              <a:gd name="connsiteX15" fmla="*/ 4011074 w 10931141"/>
              <a:gd name="connsiteY15" fmla="*/ 3814583 h 4365625"/>
              <a:gd name="connsiteX16" fmla="*/ 3460033 w 10931141"/>
              <a:gd name="connsiteY16" fmla="*/ 4365625 h 4365625"/>
              <a:gd name="connsiteX17" fmla="*/ 2266114 w 10931141"/>
              <a:gd name="connsiteY17" fmla="*/ 4365625 h 4365625"/>
              <a:gd name="connsiteX18" fmla="*/ 2182813 w 10931141"/>
              <a:gd name="connsiteY18" fmla="*/ 4357229 h 4365625"/>
              <a:gd name="connsiteX19" fmla="*/ 2182813 w 10931141"/>
              <a:gd name="connsiteY19" fmla="*/ 4365625 h 4365625"/>
              <a:gd name="connsiteX20" fmla="*/ 0 w 10931141"/>
              <a:gd name="connsiteY20" fmla="*/ 2182813 h 4365625"/>
              <a:gd name="connsiteX21" fmla="*/ 2182813 w 10931141"/>
              <a:gd name="connsiteY21" fmla="*/ 0 h 4365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931141" h="4365625">
                <a:moveTo>
                  <a:pt x="2182813" y="0"/>
                </a:moveTo>
                <a:lnTo>
                  <a:pt x="2182813" y="12672"/>
                </a:lnTo>
                <a:lnTo>
                  <a:pt x="2266114" y="4274"/>
                </a:lnTo>
                <a:lnTo>
                  <a:pt x="10380099" y="4274"/>
                </a:lnTo>
                <a:cubicBezTo>
                  <a:pt x="10684431" y="4274"/>
                  <a:pt x="10931141" y="250985"/>
                  <a:pt x="10931141" y="555317"/>
                </a:cubicBezTo>
                <a:cubicBezTo>
                  <a:pt x="10931141" y="859649"/>
                  <a:pt x="10684431" y="1106359"/>
                  <a:pt x="10380099" y="1106359"/>
                </a:cubicBezTo>
                <a:lnTo>
                  <a:pt x="2266114" y="1106359"/>
                </a:lnTo>
                <a:cubicBezTo>
                  <a:pt x="2228073" y="1106359"/>
                  <a:pt x="2190932" y="1102505"/>
                  <a:pt x="2155061" y="1095164"/>
                </a:cubicBezTo>
                <a:lnTo>
                  <a:pt x="2148535" y="1093138"/>
                </a:lnTo>
                <a:lnTo>
                  <a:pt x="2071223" y="1097042"/>
                </a:lnTo>
                <a:cubicBezTo>
                  <a:pt x="1520874" y="1152933"/>
                  <a:pt x="1091406" y="1617719"/>
                  <a:pt x="1091406" y="2182814"/>
                </a:cubicBezTo>
                <a:cubicBezTo>
                  <a:pt x="1091406" y="2747909"/>
                  <a:pt x="1520874" y="3212694"/>
                  <a:pt x="2071225" y="3268586"/>
                </a:cubicBezTo>
                <a:lnTo>
                  <a:pt x="2167729" y="3273459"/>
                </a:lnTo>
                <a:lnTo>
                  <a:pt x="2266114" y="3263540"/>
                </a:lnTo>
                <a:lnTo>
                  <a:pt x="3460033" y="3263540"/>
                </a:lnTo>
                <a:cubicBezTo>
                  <a:pt x="3764364" y="3263540"/>
                  <a:pt x="4011074" y="3510251"/>
                  <a:pt x="4011074" y="3814583"/>
                </a:cubicBezTo>
                <a:cubicBezTo>
                  <a:pt x="4011074" y="4118915"/>
                  <a:pt x="3764364" y="4365625"/>
                  <a:pt x="3460033" y="4365625"/>
                </a:cubicBezTo>
                <a:lnTo>
                  <a:pt x="2266114" y="4365625"/>
                </a:lnTo>
                <a:lnTo>
                  <a:pt x="2182813" y="4357229"/>
                </a:lnTo>
                <a:lnTo>
                  <a:pt x="2182813" y="4365625"/>
                </a:lnTo>
                <a:cubicBezTo>
                  <a:pt x="977279" y="4365625"/>
                  <a:pt x="0" y="3388346"/>
                  <a:pt x="0" y="2182813"/>
                </a:cubicBezTo>
                <a:cubicBezTo>
                  <a:pt x="0" y="977279"/>
                  <a:pt x="977279" y="0"/>
                  <a:pt x="2182813" y="0"/>
                </a:cubicBezTo>
                <a:close/>
              </a:path>
            </a:pathLst>
          </a:custGeom>
        </p:spPr>
      </p:pic>
      <p:sp>
        <p:nvSpPr>
          <p:cNvPr id="66" name="Oval 65">
            <a:extLst>
              <a:ext uri="{FF2B5EF4-FFF2-40B4-BE49-F238E27FC236}">
                <a16:creationId xmlns:a16="http://schemas.microsoft.com/office/drawing/2014/main" id="{FDEB32CE-F846-437C-8900-C7E6B3B25EAC}"/>
              </a:ext>
            </a:extLst>
          </p:cNvPr>
          <p:cNvSpPr/>
          <p:nvPr/>
        </p:nvSpPr>
        <p:spPr>
          <a:xfrm>
            <a:off x="9257012" y="658158"/>
            <a:ext cx="1279326" cy="1279326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>
            <a:outerShdw blurRad="9398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>
              <a:latin typeface="Montserrat ExtraBold" panose="00000900000000000000" pitchFamily="50" charset="0"/>
            </a:endParaRPr>
          </a:p>
        </p:txBody>
      </p:sp>
      <p:pic>
        <p:nvPicPr>
          <p:cNvPr id="29" name="Gambar 28">
            <a:extLst>
              <a:ext uri="{FF2B5EF4-FFF2-40B4-BE49-F238E27FC236}">
                <a16:creationId xmlns:a16="http://schemas.microsoft.com/office/drawing/2014/main" id="{377C48F1-18F7-EE61-50EF-597B4FC4AAF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556" y="426421"/>
            <a:ext cx="1253721" cy="930143"/>
          </a:xfrm>
          <a:prstGeom prst="rect">
            <a:avLst/>
          </a:prstGeom>
        </p:spPr>
      </p:pic>
      <p:sp>
        <p:nvSpPr>
          <p:cNvPr id="30" name="TextBox 68">
            <a:extLst>
              <a:ext uri="{FF2B5EF4-FFF2-40B4-BE49-F238E27FC236}">
                <a16:creationId xmlns:a16="http://schemas.microsoft.com/office/drawing/2014/main" id="{5C85B408-1F8F-F8EC-C0C8-5E21E1CA8972}"/>
              </a:ext>
            </a:extLst>
          </p:cNvPr>
          <p:cNvSpPr txBox="1"/>
          <p:nvPr/>
        </p:nvSpPr>
        <p:spPr>
          <a:xfrm rot="5400000">
            <a:off x="11309365" y="3328970"/>
            <a:ext cx="1277915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id-ID" sz="700" spc="300" dirty="0">
                <a:solidFill>
                  <a:schemeClr val="bg1"/>
                </a:solidFill>
              </a:rPr>
              <a:t>DATA ENGINEER</a:t>
            </a:r>
          </a:p>
        </p:txBody>
      </p:sp>
      <p:sp>
        <p:nvSpPr>
          <p:cNvPr id="31" name="TextBox 69">
            <a:extLst>
              <a:ext uri="{FF2B5EF4-FFF2-40B4-BE49-F238E27FC236}">
                <a16:creationId xmlns:a16="http://schemas.microsoft.com/office/drawing/2014/main" id="{FED24134-C51C-C4E3-FA97-6CA2B90A707D}"/>
              </a:ext>
            </a:extLst>
          </p:cNvPr>
          <p:cNvSpPr txBox="1"/>
          <p:nvPr/>
        </p:nvSpPr>
        <p:spPr>
          <a:xfrm rot="5400000">
            <a:off x="-395270" y="3328970"/>
            <a:ext cx="1277915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id-ID" sz="700" spc="300" dirty="0">
                <a:solidFill>
                  <a:schemeClr val="bg1"/>
                </a:solidFill>
              </a:rPr>
              <a:t>DATA ENGINEER</a:t>
            </a:r>
          </a:p>
        </p:txBody>
      </p:sp>
      <p:grpSp>
        <p:nvGrpSpPr>
          <p:cNvPr id="32" name="Group 47">
            <a:extLst>
              <a:ext uri="{FF2B5EF4-FFF2-40B4-BE49-F238E27FC236}">
                <a16:creationId xmlns:a16="http://schemas.microsoft.com/office/drawing/2014/main" id="{291D1AE7-4982-50D0-4C96-B11536C0985A}"/>
              </a:ext>
            </a:extLst>
          </p:cNvPr>
          <p:cNvGrpSpPr/>
          <p:nvPr/>
        </p:nvGrpSpPr>
        <p:grpSpPr>
          <a:xfrm flipH="1">
            <a:off x="10402043" y="317"/>
            <a:ext cx="1798562" cy="507433"/>
            <a:chOff x="126915" y="6168470"/>
            <a:chExt cx="1798562" cy="507433"/>
          </a:xfrm>
        </p:grpSpPr>
        <p:sp>
          <p:nvSpPr>
            <p:cNvPr id="33" name="Rectangle 48">
              <a:extLst>
                <a:ext uri="{FF2B5EF4-FFF2-40B4-BE49-F238E27FC236}">
                  <a16:creationId xmlns:a16="http://schemas.microsoft.com/office/drawing/2014/main" id="{D1F847C0-A6B8-1B7D-02BD-91D4E31E0732}"/>
                </a:ext>
              </a:extLst>
            </p:cNvPr>
            <p:cNvSpPr/>
            <p:nvPr>
              <p:custDataLst>
                <p:tags r:id="rId1"/>
              </p:custDataLst>
            </p:nvPr>
          </p:nvSpPr>
          <p:spPr>
            <a:xfrm flipH="1">
              <a:off x="126915" y="6168470"/>
              <a:ext cx="1798562" cy="288071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en-US" sz="1050" dirty="0">
                  <a:solidFill>
                    <a:schemeClr val="bg1"/>
                  </a:solidFill>
                  <a:latin typeface="Segoe UI" panose="020B0502040204020203" pitchFamily="34" charset="0"/>
                  <a:ea typeface="Open Sans Light" panose="020B0306030504020204" pitchFamily="34" charset="0"/>
                  <a:cs typeface="Segoe UI" panose="020B0502040204020203" pitchFamily="34" charset="0"/>
                </a:rPr>
                <a:t>www.</a:t>
              </a:r>
              <a:r>
                <a:rPr lang="id-ID" sz="1050" dirty="0" err="1">
                  <a:solidFill>
                    <a:schemeClr val="bg1"/>
                  </a:solidFill>
                  <a:latin typeface="Segoe UI" panose="020B0502040204020203" pitchFamily="34" charset="0"/>
                  <a:ea typeface="Open Sans Light" panose="020B0306030504020204" pitchFamily="34" charset="0"/>
                  <a:cs typeface="Segoe UI" panose="020B0502040204020203" pitchFamily="34" charset="0"/>
                </a:rPr>
                <a:t>digitalskola</a:t>
              </a:r>
              <a:r>
                <a:rPr lang="en-US" sz="1050" dirty="0">
                  <a:solidFill>
                    <a:schemeClr val="bg1"/>
                  </a:solidFill>
                  <a:latin typeface="Segoe UI" panose="020B0502040204020203" pitchFamily="34" charset="0"/>
                  <a:ea typeface="Open Sans Light" panose="020B0306030504020204" pitchFamily="34" charset="0"/>
                  <a:cs typeface="Segoe UI" panose="020B0502040204020203" pitchFamily="34" charset="0"/>
                </a:rPr>
                <a:t>.com</a:t>
              </a:r>
            </a:p>
          </p:txBody>
        </p:sp>
        <p:sp>
          <p:nvSpPr>
            <p:cNvPr id="34" name="Slide Number Placeholder 9">
              <a:extLst>
                <a:ext uri="{FF2B5EF4-FFF2-40B4-BE49-F238E27FC236}">
                  <a16:creationId xmlns:a16="http://schemas.microsoft.com/office/drawing/2014/main" id="{B11FFC11-4BA5-AB02-3411-ED13102D24BF}"/>
                </a:ext>
              </a:extLst>
            </p:cNvPr>
            <p:cNvSpPr txBox="1">
              <a:spLocks/>
            </p:cNvSpPr>
            <p:nvPr/>
          </p:nvSpPr>
          <p:spPr>
            <a:xfrm flipH="1">
              <a:off x="276666" y="6310778"/>
              <a:ext cx="566563" cy="365125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en-US"/>
              </a:defPPr>
              <a:lvl1pPr marL="0" algn="ctr" defTabSz="914400" rtl="0" eaLnBrk="1" latinLnBrk="0" hangingPunct="1">
                <a:defRPr sz="10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endParaRPr lang="en-US" sz="18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sp>
        <p:nvSpPr>
          <p:cNvPr id="2" name="Kotak Teks 1">
            <a:hlinkClick r:id="rId5"/>
            <a:extLst>
              <a:ext uri="{FF2B5EF4-FFF2-40B4-BE49-F238E27FC236}">
                <a16:creationId xmlns:a16="http://schemas.microsoft.com/office/drawing/2014/main" id="{9D58A766-1710-7DED-AE2D-21376AE5A517}"/>
              </a:ext>
            </a:extLst>
          </p:cNvPr>
          <p:cNvSpPr txBox="1"/>
          <p:nvPr/>
        </p:nvSpPr>
        <p:spPr>
          <a:xfrm>
            <a:off x="4336634" y="4067955"/>
            <a:ext cx="467141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d-ID" dirty="0">
                <a:solidFill>
                  <a:schemeClr val="bg1"/>
                </a:solidFill>
              </a:rPr>
              <a:t>https://www.linkedin.com/in/rahmawaminggu/</a:t>
            </a:r>
          </a:p>
        </p:txBody>
      </p:sp>
      <p:sp>
        <p:nvSpPr>
          <p:cNvPr id="35" name="Rectangle 50">
            <a:extLst>
              <a:ext uri="{FF2B5EF4-FFF2-40B4-BE49-F238E27FC236}">
                <a16:creationId xmlns:a16="http://schemas.microsoft.com/office/drawing/2014/main" id="{FA03E0A1-74C1-5385-C61F-0F9987D65F46}"/>
              </a:ext>
            </a:extLst>
          </p:cNvPr>
          <p:cNvSpPr/>
          <p:nvPr/>
        </p:nvSpPr>
        <p:spPr>
          <a:xfrm>
            <a:off x="161037" y="6374139"/>
            <a:ext cx="4107686" cy="2965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sz="1200" b="1" dirty="0">
                <a:solidFill>
                  <a:schemeClr val="bg1"/>
                </a:solidFill>
                <a:latin typeface="Montserrat" panose="00000500000000000000" pitchFamily="50" charset="0"/>
                <a:cs typeface="Segoe UI" panose="020B0502040204020203" pitchFamily="34" charset="0"/>
              </a:rPr>
              <a:t>Present by : INDRA RAHMAWAN</a:t>
            </a:r>
          </a:p>
        </p:txBody>
      </p:sp>
      <p:pic>
        <p:nvPicPr>
          <p:cNvPr id="9218" name="Picture 2" descr="Airflow logos - Airflow - Apache Software Foundation">
            <a:extLst>
              <a:ext uri="{FF2B5EF4-FFF2-40B4-BE49-F238E27FC236}">
                <a16:creationId xmlns:a16="http://schemas.microsoft.com/office/drawing/2014/main" id="{291D9664-A96E-3F20-16BD-CD2A27F245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92908" y="881030"/>
            <a:ext cx="833582" cy="833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33369361"/>
      </p:ext>
    </p:extLst>
  </p:cSld>
  <p:clrMapOvr>
    <a:masterClrMapping/>
  </p:clrMapOvr>
  <p:transition spd="slow">
    <p:wip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ersegi Panjang: Sudut Lengkung 9">
            <a:extLst>
              <a:ext uri="{FF2B5EF4-FFF2-40B4-BE49-F238E27FC236}">
                <a16:creationId xmlns:a16="http://schemas.microsoft.com/office/drawing/2014/main" id="{98526004-EBB5-7362-5B78-BC4528A4E5E0}"/>
              </a:ext>
            </a:extLst>
          </p:cNvPr>
          <p:cNvSpPr/>
          <p:nvPr/>
        </p:nvSpPr>
        <p:spPr>
          <a:xfrm>
            <a:off x="5358602" y="1950325"/>
            <a:ext cx="6718166" cy="41352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D1FC124E-9C56-4FA9-BF52-A04E807A4717}"/>
              </a:ext>
            </a:extLst>
          </p:cNvPr>
          <p:cNvSpPr/>
          <p:nvPr/>
        </p:nvSpPr>
        <p:spPr>
          <a:xfrm flipH="1">
            <a:off x="0" y="0"/>
            <a:ext cx="5417608" cy="6858000"/>
          </a:xfrm>
          <a:custGeom>
            <a:avLst/>
            <a:gdLst>
              <a:gd name="connsiteX0" fmla="*/ 5417608 w 5417608"/>
              <a:gd name="connsiteY0" fmla="*/ 0 h 6858000"/>
              <a:gd name="connsiteX1" fmla="*/ 0 w 5417608"/>
              <a:gd name="connsiteY1" fmla="*/ 0 h 6858000"/>
              <a:gd name="connsiteX2" fmla="*/ 12548 w 5417608"/>
              <a:gd name="connsiteY2" fmla="*/ 17195 h 6858000"/>
              <a:gd name="connsiteX3" fmla="*/ 271396 w 5417608"/>
              <a:gd name="connsiteY3" fmla="*/ 560207 h 6858000"/>
              <a:gd name="connsiteX4" fmla="*/ 242001 w 5417608"/>
              <a:gd name="connsiteY4" fmla="*/ 3653330 h 6858000"/>
              <a:gd name="connsiteX5" fmla="*/ 1228404 w 5417608"/>
              <a:gd name="connsiteY5" fmla="*/ 5511820 h 6858000"/>
              <a:gd name="connsiteX6" fmla="*/ 3188145 w 5417608"/>
              <a:gd name="connsiteY6" fmla="*/ 6347975 h 6858000"/>
              <a:gd name="connsiteX7" fmla="*/ 3821826 w 5417608"/>
              <a:gd name="connsiteY7" fmla="*/ 6738967 h 6858000"/>
              <a:gd name="connsiteX8" fmla="*/ 3988084 w 5417608"/>
              <a:gd name="connsiteY8" fmla="*/ 6858000 h 6858000"/>
              <a:gd name="connsiteX9" fmla="*/ 5417608 w 5417608"/>
              <a:gd name="connsiteY9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417608" h="6858000">
                <a:moveTo>
                  <a:pt x="5417608" y="0"/>
                </a:moveTo>
                <a:lnTo>
                  <a:pt x="0" y="0"/>
                </a:lnTo>
                <a:lnTo>
                  <a:pt x="12548" y="17195"/>
                </a:lnTo>
                <a:cubicBezTo>
                  <a:pt x="126866" y="185406"/>
                  <a:pt x="224036" y="362599"/>
                  <a:pt x="271396" y="560207"/>
                </a:cubicBezTo>
                <a:cubicBezTo>
                  <a:pt x="516365" y="1569472"/>
                  <a:pt x="104820" y="2624468"/>
                  <a:pt x="242001" y="3653330"/>
                </a:cubicBezTo>
                <a:cubicBezTo>
                  <a:pt x="336721" y="4368637"/>
                  <a:pt x="650279" y="5080677"/>
                  <a:pt x="1228404" y="5511820"/>
                </a:cubicBezTo>
                <a:cubicBezTo>
                  <a:pt x="1799994" y="5936430"/>
                  <a:pt x="2547963" y="6034417"/>
                  <a:pt x="3188145" y="6347975"/>
                </a:cubicBezTo>
                <a:cubicBezTo>
                  <a:pt x="3412290" y="6458211"/>
                  <a:pt x="3618981" y="6595546"/>
                  <a:pt x="3821826" y="6738967"/>
                </a:cubicBezTo>
                <a:lnTo>
                  <a:pt x="3988084" y="6858000"/>
                </a:lnTo>
                <a:lnTo>
                  <a:pt x="5417608" y="685800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C41C41F9-C264-48F6-9348-25558FF7AECF}"/>
              </a:ext>
            </a:extLst>
          </p:cNvPr>
          <p:cNvSpPr/>
          <p:nvPr/>
        </p:nvSpPr>
        <p:spPr>
          <a:xfrm>
            <a:off x="441167" y="633150"/>
            <a:ext cx="3827556" cy="5022349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660400" dist="190500" dir="2700000" algn="tl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D1D982FF-11B9-4716-B960-5889E122DE94}"/>
              </a:ext>
            </a:extLst>
          </p:cNvPr>
          <p:cNvGrpSpPr/>
          <p:nvPr/>
        </p:nvGrpSpPr>
        <p:grpSpPr>
          <a:xfrm rot="16200000">
            <a:off x="797214" y="-332152"/>
            <a:ext cx="208395" cy="1314681"/>
            <a:chOff x="243840" y="162560"/>
            <a:chExt cx="325120" cy="2051050"/>
          </a:xfrm>
        </p:grpSpPr>
        <p:sp>
          <p:nvSpPr>
            <p:cNvPr id="41" name="Rectangle: Rounded Corners 40">
              <a:extLst>
                <a:ext uri="{FF2B5EF4-FFF2-40B4-BE49-F238E27FC236}">
                  <a16:creationId xmlns:a16="http://schemas.microsoft.com/office/drawing/2014/main" id="{A52F5D1A-F4C0-4D1A-B2C5-93D4B841FC19}"/>
                </a:ext>
              </a:extLst>
            </p:cNvPr>
            <p:cNvSpPr/>
            <p:nvPr/>
          </p:nvSpPr>
          <p:spPr>
            <a:xfrm>
              <a:off x="243840" y="162560"/>
              <a:ext cx="325120" cy="1097280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" name="Rectangle: Rounded Corners 41">
              <a:extLst>
                <a:ext uri="{FF2B5EF4-FFF2-40B4-BE49-F238E27FC236}">
                  <a16:creationId xmlns:a16="http://schemas.microsoft.com/office/drawing/2014/main" id="{88FD29C0-CDE9-47FC-9C7E-2734FCC3181B}"/>
                </a:ext>
              </a:extLst>
            </p:cNvPr>
            <p:cNvSpPr/>
            <p:nvPr/>
          </p:nvSpPr>
          <p:spPr>
            <a:xfrm>
              <a:off x="243840" y="1324610"/>
              <a:ext cx="325120" cy="508000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" name="Rectangle: Rounded Corners 42">
              <a:extLst>
                <a:ext uri="{FF2B5EF4-FFF2-40B4-BE49-F238E27FC236}">
                  <a16:creationId xmlns:a16="http://schemas.microsoft.com/office/drawing/2014/main" id="{FD6393F1-71A6-4AFD-B440-9E946CC2EC8A}"/>
                </a:ext>
              </a:extLst>
            </p:cNvPr>
            <p:cNvSpPr/>
            <p:nvPr/>
          </p:nvSpPr>
          <p:spPr>
            <a:xfrm>
              <a:off x="243840" y="1897380"/>
              <a:ext cx="325120" cy="316230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ADC56C6A-E824-4DD5-B4CC-F7B088D24113}"/>
              </a:ext>
            </a:extLst>
          </p:cNvPr>
          <p:cNvGrpSpPr/>
          <p:nvPr/>
        </p:nvGrpSpPr>
        <p:grpSpPr>
          <a:xfrm rot="10800000">
            <a:off x="11739534" y="5342648"/>
            <a:ext cx="208395" cy="1314681"/>
            <a:chOff x="243840" y="162560"/>
            <a:chExt cx="325120" cy="2051050"/>
          </a:xfrm>
        </p:grpSpPr>
        <p:sp>
          <p:nvSpPr>
            <p:cNvPr id="45" name="Rectangle: Rounded Corners 44">
              <a:extLst>
                <a:ext uri="{FF2B5EF4-FFF2-40B4-BE49-F238E27FC236}">
                  <a16:creationId xmlns:a16="http://schemas.microsoft.com/office/drawing/2014/main" id="{559C384E-7732-4ED1-BAD9-DA49BACF23F6}"/>
                </a:ext>
              </a:extLst>
            </p:cNvPr>
            <p:cNvSpPr/>
            <p:nvPr/>
          </p:nvSpPr>
          <p:spPr>
            <a:xfrm>
              <a:off x="243840" y="162560"/>
              <a:ext cx="325120" cy="1097280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" name="Rectangle: Rounded Corners 45">
              <a:extLst>
                <a:ext uri="{FF2B5EF4-FFF2-40B4-BE49-F238E27FC236}">
                  <a16:creationId xmlns:a16="http://schemas.microsoft.com/office/drawing/2014/main" id="{5D3AC9A5-7749-41E6-88FC-D648D370EDEA}"/>
                </a:ext>
              </a:extLst>
            </p:cNvPr>
            <p:cNvSpPr/>
            <p:nvPr/>
          </p:nvSpPr>
          <p:spPr>
            <a:xfrm>
              <a:off x="243840" y="1324610"/>
              <a:ext cx="325120" cy="508000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7" name="Rectangle: Rounded Corners 46">
              <a:extLst>
                <a:ext uri="{FF2B5EF4-FFF2-40B4-BE49-F238E27FC236}">
                  <a16:creationId xmlns:a16="http://schemas.microsoft.com/office/drawing/2014/main" id="{CCFBA7B5-56BF-472F-A8F0-D37E04153DBE}"/>
                </a:ext>
              </a:extLst>
            </p:cNvPr>
            <p:cNvSpPr/>
            <p:nvPr/>
          </p:nvSpPr>
          <p:spPr>
            <a:xfrm>
              <a:off x="243840" y="1897380"/>
              <a:ext cx="325120" cy="316230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8" name="TextBox 37">
            <a:extLst>
              <a:ext uri="{FF2B5EF4-FFF2-40B4-BE49-F238E27FC236}">
                <a16:creationId xmlns:a16="http://schemas.microsoft.com/office/drawing/2014/main" id="{547E3516-3C37-4FC3-9C4A-9FDF47EBB13E}"/>
              </a:ext>
            </a:extLst>
          </p:cNvPr>
          <p:cNvSpPr txBox="1"/>
          <p:nvPr/>
        </p:nvSpPr>
        <p:spPr>
          <a:xfrm>
            <a:off x="7413752" y="565191"/>
            <a:ext cx="2896678" cy="5364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i="1" dirty="0">
                <a:latin typeface="Segoe UI" panose="020B0502040204020203" pitchFamily="34" charset="0"/>
                <a:cs typeface="Segoe UI" panose="020B0502040204020203" pitchFamily="34" charset="0"/>
              </a:rPr>
              <a:t>Study </a:t>
            </a:r>
            <a:r>
              <a:rPr lang="en-US" sz="4000" b="1" i="1" dirty="0">
                <a:solidFill>
                  <a:schemeClr val="accent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ase</a:t>
            </a:r>
            <a:endParaRPr lang="id-ID" sz="4000" b="1" i="1" dirty="0">
              <a:solidFill>
                <a:schemeClr val="accent4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2CFF4B2E-4A00-4EAA-9CCF-5481CD0223F6}"/>
              </a:ext>
            </a:extLst>
          </p:cNvPr>
          <p:cNvSpPr/>
          <p:nvPr/>
        </p:nvSpPr>
        <p:spPr>
          <a:xfrm>
            <a:off x="5661489" y="2784581"/>
            <a:ext cx="6015453" cy="27241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sz="1600" b="1" dirty="0" err="1">
                <a:solidFill>
                  <a:schemeClr val="tx2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ujuan</a:t>
            </a:r>
            <a:r>
              <a:rPr lang="en-US" sz="1600" b="1" dirty="0">
                <a:solidFill>
                  <a:schemeClr val="tx2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:</a:t>
            </a:r>
            <a:endParaRPr lang="en-US" sz="1600" dirty="0">
              <a:solidFill>
                <a:schemeClr val="tx2">
                  <a:lumMod val="5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schemeClr val="tx2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erapa</a:t>
            </a:r>
            <a:r>
              <a:rPr lang="en-US" sz="1600" dirty="0">
                <a:solidFill>
                  <a:schemeClr val="tx2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dirty="0" err="1">
                <a:solidFill>
                  <a:schemeClr val="tx2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asus</a:t>
            </a:r>
            <a:r>
              <a:rPr lang="en-US" sz="1600" dirty="0">
                <a:solidFill>
                  <a:schemeClr val="tx2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yang </a:t>
            </a:r>
            <a:r>
              <a:rPr lang="en-US" sz="1600" dirty="0" err="1">
                <a:solidFill>
                  <a:schemeClr val="tx2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a</a:t>
            </a:r>
            <a:r>
              <a:rPr lang="en-US" sz="1600" dirty="0">
                <a:solidFill>
                  <a:schemeClr val="tx2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di masing-masing </a:t>
            </a:r>
            <a:r>
              <a:rPr lang="en-US" sz="1600" dirty="0" err="1">
                <a:solidFill>
                  <a:schemeClr val="tx2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ota</a:t>
            </a:r>
            <a:r>
              <a:rPr lang="en-US" sz="1600" dirty="0">
                <a:solidFill>
                  <a:schemeClr val="tx2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di </a:t>
            </a:r>
            <a:r>
              <a:rPr lang="en-US" sz="1600" dirty="0" err="1">
                <a:solidFill>
                  <a:schemeClr val="tx2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vinsi</a:t>
            </a:r>
            <a:r>
              <a:rPr lang="en-US" sz="1600" dirty="0">
                <a:solidFill>
                  <a:schemeClr val="tx2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dirty="0" err="1">
                <a:solidFill>
                  <a:schemeClr val="tx2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jawa</a:t>
            </a:r>
            <a:r>
              <a:rPr lang="en-US" sz="1600" dirty="0">
                <a:solidFill>
                  <a:schemeClr val="tx2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barat </a:t>
            </a:r>
            <a:r>
              <a:rPr lang="en-US" sz="1600" dirty="0" err="1">
                <a:solidFill>
                  <a:schemeClr val="tx2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isetiap</a:t>
            </a:r>
            <a:r>
              <a:rPr lang="en-US" sz="1600" dirty="0">
                <a:solidFill>
                  <a:schemeClr val="tx2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dirty="0" err="1">
                <a:solidFill>
                  <a:schemeClr val="tx2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arinya</a:t>
            </a:r>
            <a:r>
              <a:rPr lang="en-US" sz="1600" dirty="0">
                <a:solidFill>
                  <a:schemeClr val="tx2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?</a:t>
            </a:r>
          </a:p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schemeClr val="tx2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erapa</a:t>
            </a:r>
            <a:r>
              <a:rPr lang="en-US" sz="1600" dirty="0">
                <a:solidFill>
                  <a:schemeClr val="tx2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dirty="0" err="1">
                <a:solidFill>
                  <a:schemeClr val="tx2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asus</a:t>
            </a:r>
            <a:r>
              <a:rPr lang="en-US" sz="1600" dirty="0">
                <a:solidFill>
                  <a:schemeClr val="tx2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yang </a:t>
            </a:r>
            <a:r>
              <a:rPr lang="en-US" sz="1600" dirty="0" err="1">
                <a:solidFill>
                  <a:schemeClr val="tx2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a</a:t>
            </a:r>
            <a:r>
              <a:rPr lang="en-US" sz="1600" dirty="0">
                <a:solidFill>
                  <a:schemeClr val="tx2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di </a:t>
            </a:r>
            <a:r>
              <a:rPr lang="en-US" sz="1600" dirty="0" err="1">
                <a:solidFill>
                  <a:schemeClr val="tx2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i</a:t>
            </a:r>
            <a:r>
              <a:rPr lang="en-US" sz="1600" dirty="0">
                <a:solidFill>
                  <a:schemeClr val="tx2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masing-masing </a:t>
            </a:r>
            <a:r>
              <a:rPr lang="en-US" sz="1600" dirty="0" err="1">
                <a:solidFill>
                  <a:schemeClr val="tx2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ota</a:t>
            </a:r>
            <a:r>
              <a:rPr lang="en-US" sz="1600" dirty="0">
                <a:solidFill>
                  <a:schemeClr val="tx2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di </a:t>
            </a:r>
            <a:r>
              <a:rPr lang="en-US" sz="1600" dirty="0" err="1">
                <a:solidFill>
                  <a:schemeClr val="tx2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vinsi</a:t>
            </a:r>
            <a:r>
              <a:rPr lang="en-US" sz="1600" dirty="0">
                <a:solidFill>
                  <a:schemeClr val="tx2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dirty="0" err="1">
                <a:solidFill>
                  <a:schemeClr val="tx2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jawa</a:t>
            </a:r>
            <a:r>
              <a:rPr lang="en-US" sz="1600" dirty="0">
                <a:solidFill>
                  <a:schemeClr val="tx2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barat </a:t>
            </a:r>
            <a:r>
              <a:rPr lang="en-US" sz="1600" dirty="0" err="1">
                <a:solidFill>
                  <a:schemeClr val="tx2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isetiap</a:t>
            </a:r>
            <a:r>
              <a:rPr lang="en-US" sz="1600" dirty="0">
                <a:solidFill>
                  <a:schemeClr val="tx2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dirty="0" err="1">
                <a:solidFill>
                  <a:schemeClr val="tx2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ulannya</a:t>
            </a:r>
            <a:r>
              <a:rPr lang="en-US" sz="1600" dirty="0">
                <a:solidFill>
                  <a:schemeClr val="tx2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?</a:t>
            </a:r>
          </a:p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schemeClr val="tx2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erapa</a:t>
            </a:r>
            <a:r>
              <a:rPr lang="en-US" sz="1600" dirty="0">
                <a:solidFill>
                  <a:schemeClr val="tx2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dirty="0" err="1">
                <a:solidFill>
                  <a:schemeClr val="tx2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asus</a:t>
            </a:r>
            <a:r>
              <a:rPr lang="en-US" sz="1600" dirty="0">
                <a:solidFill>
                  <a:schemeClr val="tx2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yang </a:t>
            </a:r>
            <a:r>
              <a:rPr lang="en-US" sz="1600" dirty="0" err="1">
                <a:solidFill>
                  <a:schemeClr val="tx2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a</a:t>
            </a:r>
            <a:r>
              <a:rPr lang="en-US" sz="1600" dirty="0">
                <a:solidFill>
                  <a:schemeClr val="tx2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di masing-masing </a:t>
            </a:r>
            <a:r>
              <a:rPr lang="en-US" sz="1600" dirty="0" err="1">
                <a:solidFill>
                  <a:schemeClr val="tx2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ota</a:t>
            </a:r>
            <a:r>
              <a:rPr lang="en-US" sz="1600" dirty="0">
                <a:solidFill>
                  <a:schemeClr val="tx2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 di </a:t>
            </a:r>
            <a:r>
              <a:rPr lang="en-US" sz="1600" dirty="0" err="1">
                <a:solidFill>
                  <a:schemeClr val="tx2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vinsi</a:t>
            </a:r>
            <a:r>
              <a:rPr lang="en-US" sz="1600" dirty="0">
                <a:solidFill>
                  <a:schemeClr val="tx2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dirty="0" err="1">
                <a:solidFill>
                  <a:schemeClr val="tx2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jawa</a:t>
            </a:r>
            <a:r>
              <a:rPr lang="en-US" sz="1600" dirty="0">
                <a:solidFill>
                  <a:schemeClr val="tx2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barat </a:t>
            </a:r>
            <a:r>
              <a:rPr lang="en-US" sz="1600" dirty="0" err="1">
                <a:solidFill>
                  <a:schemeClr val="tx2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isetiap</a:t>
            </a:r>
            <a:r>
              <a:rPr lang="en-US" sz="1600" dirty="0">
                <a:solidFill>
                  <a:schemeClr val="tx2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dirty="0" err="1">
                <a:solidFill>
                  <a:schemeClr val="tx2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ahunnya</a:t>
            </a:r>
            <a:r>
              <a:rPr lang="en-US" sz="1600" dirty="0">
                <a:solidFill>
                  <a:schemeClr val="tx2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?</a:t>
            </a:r>
          </a:p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ota mana </a:t>
            </a:r>
            <a:r>
              <a:rPr lang="en-US" sz="1600" dirty="0" err="1">
                <a:solidFill>
                  <a:schemeClr val="tx2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aja</a:t>
            </a:r>
            <a:r>
              <a:rPr lang="en-US" sz="1600" dirty="0">
                <a:solidFill>
                  <a:schemeClr val="tx2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yang </a:t>
            </a:r>
            <a:r>
              <a:rPr lang="en-US" sz="1600" dirty="0" err="1">
                <a:solidFill>
                  <a:schemeClr val="tx2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ergolong</a:t>
            </a:r>
            <a:r>
              <a:rPr lang="en-US" sz="1600" dirty="0">
                <a:solidFill>
                  <a:schemeClr val="tx2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dirty="0" err="1">
                <a:solidFill>
                  <a:schemeClr val="tx2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asih</a:t>
            </a:r>
            <a:r>
              <a:rPr lang="en-US" sz="1600" dirty="0">
                <a:solidFill>
                  <a:schemeClr val="tx2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dirty="0" err="1">
                <a:solidFill>
                  <a:schemeClr val="tx2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inggi</a:t>
            </a:r>
            <a:r>
              <a:rPr lang="en-US" sz="1600" dirty="0">
                <a:solidFill>
                  <a:schemeClr val="tx2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dirty="0" err="1">
                <a:solidFill>
                  <a:schemeClr val="tx2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ngka</a:t>
            </a:r>
            <a:r>
              <a:rPr lang="en-US" sz="1600" dirty="0">
                <a:solidFill>
                  <a:schemeClr val="tx2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dirty="0" err="1">
                <a:solidFill>
                  <a:schemeClr val="tx2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erpapar</a:t>
            </a:r>
            <a:r>
              <a:rPr lang="en-US" sz="1600" dirty="0">
                <a:solidFill>
                  <a:schemeClr val="tx2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covid-19 ?</a:t>
            </a:r>
          </a:p>
        </p:txBody>
      </p:sp>
      <p:pic>
        <p:nvPicPr>
          <p:cNvPr id="6" name="Gambar 5">
            <a:extLst>
              <a:ext uri="{FF2B5EF4-FFF2-40B4-BE49-F238E27FC236}">
                <a16:creationId xmlns:a16="http://schemas.microsoft.com/office/drawing/2014/main" id="{6CAEBDBC-F424-9064-91B3-84CA69A3073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5058" y="949406"/>
            <a:ext cx="3540844" cy="4075177"/>
          </a:xfrm>
          <a:prstGeom prst="rect">
            <a:avLst/>
          </a:prstGeom>
        </p:spPr>
      </p:pic>
      <p:sp>
        <p:nvSpPr>
          <p:cNvPr id="36" name="Rectangle 25">
            <a:extLst>
              <a:ext uri="{FF2B5EF4-FFF2-40B4-BE49-F238E27FC236}">
                <a16:creationId xmlns:a16="http://schemas.microsoft.com/office/drawing/2014/main" id="{C102B13F-48A2-0BBB-AE35-6A1A6C988C4A}"/>
              </a:ext>
            </a:extLst>
          </p:cNvPr>
          <p:cNvSpPr/>
          <p:nvPr/>
        </p:nvSpPr>
        <p:spPr>
          <a:xfrm>
            <a:off x="161037" y="6374139"/>
            <a:ext cx="1658798" cy="2965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sz="1200" b="1" dirty="0">
                <a:solidFill>
                  <a:schemeClr val="bg1"/>
                </a:solidFill>
                <a:latin typeface="Montserrat" panose="00000500000000000000" pitchFamily="50" charset="0"/>
                <a:cs typeface="Segoe UI" panose="020B0502040204020203" pitchFamily="34" charset="0"/>
              </a:rPr>
              <a:t>#AYOPAKAIDATA</a:t>
            </a:r>
          </a:p>
        </p:txBody>
      </p:sp>
      <p:sp>
        <p:nvSpPr>
          <p:cNvPr id="7" name="Kotak Teks 6">
            <a:extLst>
              <a:ext uri="{FF2B5EF4-FFF2-40B4-BE49-F238E27FC236}">
                <a16:creationId xmlns:a16="http://schemas.microsoft.com/office/drawing/2014/main" id="{45B77F37-CB52-CD00-ABAB-EF054F0AD5C3}"/>
              </a:ext>
            </a:extLst>
          </p:cNvPr>
          <p:cNvSpPr txBox="1"/>
          <p:nvPr/>
        </p:nvSpPr>
        <p:spPr>
          <a:xfrm>
            <a:off x="5487442" y="2003202"/>
            <a:ext cx="646048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d-ID" sz="1400" b="0" i="0" dirty="0">
                <a:solidFill>
                  <a:srgbClr val="212121"/>
                </a:solidFill>
                <a:effectLst/>
                <a:latin typeface="Inter"/>
              </a:rPr>
              <a:t>https://covid19-public.digitalservice.id/api/v1/rekapitulasi_v2/jabar/harian?level=kab</a:t>
            </a:r>
            <a:endParaRPr lang="id-ID" sz="1400" dirty="0"/>
          </a:p>
        </p:txBody>
      </p:sp>
      <p:sp>
        <p:nvSpPr>
          <p:cNvPr id="9" name="Kotak Teks 8">
            <a:extLst>
              <a:ext uri="{FF2B5EF4-FFF2-40B4-BE49-F238E27FC236}">
                <a16:creationId xmlns:a16="http://schemas.microsoft.com/office/drawing/2014/main" id="{847A558A-9C34-326A-D24F-9340712DC5E8}"/>
              </a:ext>
            </a:extLst>
          </p:cNvPr>
          <p:cNvSpPr txBox="1"/>
          <p:nvPr/>
        </p:nvSpPr>
        <p:spPr>
          <a:xfrm>
            <a:off x="7799100" y="1605877"/>
            <a:ext cx="18371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b="1" dirty="0">
                <a:solidFill>
                  <a:schemeClr val="tx2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etch From API</a:t>
            </a:r>
          </a:p>
        </p:txBody>
      </p:sp>
    </p:spTree>
    <p:extLst>
      <p:ext uri="{BB962C8B-B14F-4D97-AF65-F5344CB8AC3E}">
        <p14:creationId xmlns:p14="http://schemas.microsoft.com/office/powerpoint/2010/main" val="1067975039"/>
      </p:ext>
    </p:extLst>
  </p:cSld>
  <p:clrMapOvr>
    <a:masterClrMapping/>
  </p:clrMapOvr>
  <p:transition spd="slow">
    <p:wip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407AFB8D-B8C7-4E62-8B3B-B9D453D8646A}"/>
              </a:ext>
            </a:extLst>
          </p:cNvPr>
          <p:cNvSpPr/>
          <p:nvPr/>
        </p:nvSpPr>
        <p:spPr>
          <a:xfrm flipH="1">
            <a:off x="0" y="0"/>
            <a:ext cx="7415604" cy="6617045"/>
          </a:xfrm>
          <a:custGeom>
            <a:avLst/>
            <a:gdLst>
              <a:gd name="connsiteX0" fmla="*/ 7415604 w 7415604"/>
              <a:gd name="connsiteY0" fmla="*/ 0 h 6617045"/>
              <a:gd name="connsiteX1" fmla="*/ 2388364 w 7415604"/>
              <a:gd name="connsiteY1" fmla="*/ 0 h 6617045"/>
              <a:gd name="connsiteX2" fmla="*/ 2288897 w 7415604"/>
              <a:gd name="connsiteY2" fmla="*/ 223966 h 6617045"/>
              <a:gd name="connsiteX3" fmla="*/ 1627720 w 7415604"/>
              <a:gd name="connsiteY3" fmla="*/ 1972715 h 6617045"/>
              <a:gd name="connsiteX4" fmla="*/ 1111365 w 7415604"/>
              <a:gd name="connsiteY4" fmla="*/ 2996817 h 6617045"/>
              <a:gd name="connsiteX5" fmla="*/ 288068 w 7415604"/>
              <a:gd name="connsiteY5" fmla="*/ 4032396 h 6617045"/>
              <a:gd name="connsiteX6" fmla="*/ 29891 w 7415604"/>
              <a:gd name="connsiteY6" fmla="*/ 5331887 h 6617045"/>
              <a:gd name="connsiteX7" fmla="*/ 1022439 w 7415604"/>
              <a:gd name="connsiteY7" fmla="*/ 6473604 h 6617045"/>
              <a:gd name="connsiteX8" fmla="*/ 2562895 w 7415604"/>
              <a:gd name="connsiteY8" fmla="*/ 6485079 h 6617045"/>
              <a:gd name="connsiteX9" fmla="*/ 3862389 w 7415604"/>
              <a:gd name="connsiteY9" fmla="*/ 5650307 h 6617045"/>
              <a:gd name="connsiteX10" fmla="*/ 5256546 w 7415604"/>
              <a:gd name="connsiteY10" fmla="*/ 4835614 h 6617045"/>
              <a:gd name="connsiteX11" fmla="*/ 7192873 w 7415604"/>
              <a:gd name="connsiteY11" fmla="*/ 3550465 h 6617045"/>
              <a:gd name="connsiteX12" fmla="*/ 7395903 w 7415604"/>
              <a:gd name="connsiteY12" fmla="*/ 3340696 h 6617045"/>
              <a:gd name="connsiteX13" fmla="*/ 7415604 w 7415604"/>
              <a:gd name="connsiteY13" fmla="*/ 3316938 h 66170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7415604" h="6617045">
                <a:moveTo>
                  <a:pt x="7415604" y="0"/>
                </a:moveTo>
                <a:lnTo>
                  <a:pt x="2388364" y="0"/>
                </a:lnTo>
                <a:lnTo>
                  <a:pt x="2288897" y="223966"/>
                </a:lnTo>
                <a:cubicBezTo>
                  <a:pt x="2046721" y="798008"/>
                  <a:pt x="1862232" y="1398270"/>
                  <a:pt x="1627720" y="1972715"/>
                </a:cubicBezTo>
                <a:cubicBezTo>
                  <a:pt x="1487158" y="2316952"/>
                  <a:pt x="1332252" y="2695612"/>
                  <a:pt x="1111365" y="2996817"/>
                </a:cubicBezTo>
                <a:cubicBezTo>
                  <a:pt x="847451" y="3358265"/>
                  <a:pt x="511822" y="3636524"/>
                  <a:pt x="288068" y="4032396"/>
                </a:cubicBezTo>
                <a:cubicBezTo>
                  <a:pt x="67182" y="4425398"/>
                  <a:pt x="-61906" y="4890117"/>
                  <a:pt x="29891" y="5331887"/>
                </a:cubicBezTo>
                <a:cubicBezTo>
                  <a:pt x="136029" y="5848241"/>
                  <a:pt x="534771" y="6275667"/>
                  <a:pt x="1022439" y="6473604"/>
                </a:cubicBezTo>
                <a:cubicBezTo>
                  <a:pt x="1507237" y="6671541"/>
                  <a:pt x="2066622" y="6654329"/>
                  <a:pt x="2562895" y="6485079"/>
                </a:cubicBezTo>
                <a:cubicBezTo>
                  <a:pt x="3082120" y="6307223"/>
                  <a:pt x="3434960" y="5971594"/>
                  <a:pt x="3862389" y="5650307"/>
                </a:cubicBezTo>
                <a:cubicBezTo>
                  <a:pt x="4286947" y="5331887"/>
                  <a:pt x="4788957" y="5088054"/>
                  <a:pt x="5256546" y="4835614"/>
                </a:cubicBezTo>
                <a:cubicBezTo>
                  <a:pt x="5939281" y="4468429"/>
                  <a:pt x="6630621" y="4089769"/>
                  <a:pt x="7192873" y="3550465"/>
                </a:cubicBezTo>
                <a:cubicBezTo>
                  <a:pt x="7262797" y="3483411"/>
                  <a:pt x="7330658" y="3413398"/>
                  <a:pt x="7395903" y="3340696"/>
                </a:cubicBezTo>
                <a:lnTo>
                  <a:pt x="7415604" y="3316938"/>
                </a:lnTo>
                <a:close/>
              </a:path>
            </a:pathLst>
          </a:custGeom>
          <a:solidFill>
            <a:schemeClr val="accent4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7AEAAF1E-B4D1-4812-AEA5-39E9C383BDD6}"/>
              </a:ext>
            </a:extLst>
          </p:cNvPr>
          <p:cNvSpPr/>
          <p:nvPr/>
        </p:nvSpPr>
        <p:spPr>
          <a:xfrm>
            <a:off x="244071" y="931495"/>
            <a:ext cx="3135623" cy="4995009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660400" dist="190500" dir="2700000" algn="tl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12D31DBF-54D5-4267-9289-6F3F9FD02CA5}"/>
              </a:ext>
            </a:extLst>
          </p:cNvPr>
          <p:cNvGrpSpPr/>
          <p:nvPr/>
        </p:nvGrpSpPr>
        <p:grpSpPr>
          <a:xfrm rot="10800000">
            <a:off x="11739534" y="5342648"/>
            <a:ext cx="208395" cy="1314681"/>
            <a:chOff x="243840" y="162560"/>
            <a:chExt cx="325120" cy="2051050"/>
          </a:xfrm>
        </p:grpSpPr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0918BA35-3A69-4041-AF55-67D3AE737BB1}"/>
                </a:ext>
              </a:extLst>
            </p:cNvPr>
            <p:cNvSpPr/>
            <p:nvPr/>
          </p:nvSpPr>
          <p:spPr>
            <a:xfrm>
              <a:off x="243840" y="162560"/>
              <a:ext cx="325120" cy="1097280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98E90711-2249-49A6-A069-31AB4ED227B8}"/>
                </a:ext>
              </a:extLst>
            </p:cNvPr>
            <p:cNvSpPr/>
            <p:nvPr/>
          </p:nvSpPr>
          <p:spPr>
            <a:xfrm>
              <a:off x="243840" y="1324610"/>
              <a:ext cx="325120" cy="508000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Rectangle: Rounded Corners 26">
              <a:extLst>
                <a:ext uri="{FF2B5EF4-FFF2-40B4-BE49-F238E27FC236}">
                  <a16:creationId xmlns:a16="http://schemas.microsoft.com/office/drawing/2014/main" id="{2A0A8B1A-DFAA-427B-B3CF-1A761F89D875}"/>
                </a:ext>
              </a:extLst>
            </p:cNvPr>
            <p:cNvSpPr/>
            <p:nvPr/>
          </p:nvSpPr>
          <p:spPr>
            <a:xfrm>
              <a:off x="243840" y="1897380"/>
              <a:ext cx="325120" cy="316230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0" name="Slide Number Placeholder 9">
            <a:extLst>
              <a:ext uri="{FF2B5EF4-FFF2-40B4-BE49-F238E27FC236}">
                <a16:creationId xmlns:a16="http://schemas.microsoft.com/office/drawing/2014/main" id="{4EA8C063-7DDF-4607-B0DF-9298E93D0DDF}"/>
              </a:ext>
            </a:extLst>
          </p:cNvPr>
          <p:cNvSpPr txBox="1">
            <a:spLocks/>
          </p:cNvSpPr>
          <p:nvPr/>
        </p:nvSpPr>
        <p:spPr>
          <a:xfrm>
            <a:off x="11484291" y="142625"/>
            <a:ext cx="56656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endParaRPr lang="en-US" sz="1800" b="1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40" name="Gambar 39">
            <a:extLst>
              <a:ext uri="{FF2B5EF4-FFF2-40B4-BE49-F238E27FC236}">
                <a16:creationId xmlns:a16="http://schemas.microsoft.com/office/drawing/2014/main" id="{98067077-265C-5936-7C40-47E83632DCF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9246" y="1281497"/>
            <a:ext cx="2888048" cy="4075177"/>
          </a:xfrm>
          <a:prstGeom prst="rect">
            <a:avLst/>
          </a:prstGeom>
        </p:spPr>
      </p:pic>
      <p:sp>
        <p:nvSpPr>
          <p:cNvPr id="2" name="Panah: Kanan 1">
            <a:extLst>
              <a:ext uri="{FF2B5EF4-FFF2-40B4-BE49-F238E27FC236}">
                <a16:creationId xmlns:a16="http://schemas.microsoft.com/office/drawing/2014/main" id="{4A495D56-08EC-2A64-3AF9-A1DF64FB437A}"/>
              </a:ext>
            </a:extLst>
          </p:cNvPr>
          <p:cNvSpPr/>
          <p:nvPr/>
        </p:nvSpPr>
        <p:spPr>
          <a:xfrm>
            <a:off x="3382873" y="2645133"/>
            <a:ext cx="1258496" cy="132677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pic>
        <p:nvPicPr>
          <p:cNvPr id="4" name="Gambar 3">
            <a:extLst>
              <a:ext uri="{FF2B5EF4-FFF2-40B4-BE49-F238E27FC236}">
                <a16:creationId xmlns:a16="http://schemas.microsoft.com/office/drawing/2014/main" id="{F7230CCA-56AB-3999-D42A-9F820AE1EB7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8909" y="1552312"/>
            <a:ext cx="7381945" cy="3739891"/>
          </a:xfrm>
          <a:prstGeom prst="rect">
            <a:avLst/>
          </a:prstGeom>
        </p:spPr>
      </p:pic>
      <p:sp>
        <p:nvSpPr>
          <p:cNvPr id="41" name="Rectangle 25">
            <a:extLst>
              <a:ext uri="{FF2B5EF4-FFF2-40B4-BE49-F238E27FC236}">
                <a16:creationId xmlns:a16="http://schemas.microsoft.com/office/drawing/2014/main" id="{EA9036A2-D4D8-E6DD-A2A7-B0F202D2F701}"/>
              </a:ext>
            </a:extLst>
          </p:cNvPr>
          <p:cNvSpPr/>
          <p:nvPr/>
        </p:nvSpPr>
        <p:spPr>
          <a:xfrm>
            <a:off x="161037" y="6374139"/>
            <a:ext cx="1671091" cy="2965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sz="1200" b="1" dirty="0">
                <a:solidFill>
                  <a:schemeClr val="tx2">
                    <a:lumMod val="50000"/>
                  </a:schemeClr>
                </a:solidFill>
                <a:latin typeface="Montserrat" panose="00000500000000000000" pitchFamily="50" charset="0"/>
                <a:cs typeface="Segoe UI" panose="020B0502040204020203" pitchFamily="34" charset="0"/>
              </a:rPr>
              <a:t>#AYOPAKAIDATA</a:t>
            </a:r>
          </a:p>
        </p:txBody>
      </p:sp>
      <p:sp>
        <p:nvSpPr>
          <p:cNvPr id="42" name="TextBox 37">
            <a:extLst>
              <a:ext uri="{FF2B5EF4-FFF2-40B4-BE49-F238E27FC236}">
                <a16:creationId xmlns:a16="http://schemas.microsoft.com/office/drawing/2014/main" id="{DBCD81DF-26EE-17EF-DB91-2B4667025F95}"/>
              </a:ext>
            </a:extLst>
          </p:cNvPr>
          <p:cNvSpPr txBox="1"/>
          <p:nvPr/>
        </p:nvSpPr>
        <p:spPr>
          <a:xfrm>
            <a:off x="6974481" y="286090"/>
            <a:ext cx="2896678" cy="5364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i="1" dirty="0">
                <a:latin typeface="Segoe UI" panose="020B0502040204020203" pitchFamily="34" charset="0"/>
                <a:cs typeface="Segoe UI" panose="020B0502040204020203" pitchFamily="34" charset="0"/>
              </a:rPr>
              <a:t>Study </a:t>
            </a:r>
            <a:r>
              <a:rPr lang="en-US" sz="4000" b="1" i="1" dirty="0">
                <a:solidFill>
                  <a:schemeClr val="accent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ase</a:t>
            </a:r>
            <a:endParaRPr lang="id-ID" sz="4000" b="1" i="1" dirty="0">
              <a:solidFill>
                <a:schemeClr val="accent4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9821782"/>
      </p:ext>
    </p:extLst>
  </p:cSld>
  <p:clrMapOvr>
    <a:masterClrMapping/>
  </p:clrMapOvr>
  <p:transition spd="slow">
    <p:wip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A24C7721-C1CE-4B6F-85EC-FCEB82CE288C}"/>
              </a:ext>
            </a:extLst>
          </p:cNvPr>
          <p:cNvSpPr/>
          <p:nvPr/>
        </p:nvSpPr>
        <p:spPr>
          <a:xfrm>
            <a:off x="1" y="4050224"/>
            <a:ext cx="12192000" cy="2807776"/>
          </a:xfrm>
          <a:custGeom>
            <a:avLst/>
            <a:gdLst>
              <a:gd name="connsiteX0" fmla="*/ 6610143 w 12192000"/>
              <a:gd name="connsiteY0" fmla="*/ 252 h 2807776"/>
              <a:gd name="connsiteX1" fmla="*/ 11024547 w 12192000"/>
              <a:gd name="connsiteY1" fmla="*/ 1017455 h 2807776"/>
              <a:gd name="connsiteX2" fmla="*/ 11338443 w 12192000"/>
              <a:gd name="connsiteY2" fmla="*/ 1194420 h 2807776"/>
              <a:gd name="connsiteX3" fmla="*/ 12147343 w 12192000"/>
              <a:gd name="connsiteY3" fmla="*/ 1765275 h 2807776"/>
              <a:gd name="connsiteX4" fmla="*/ 12192000 w 12192000"/>
              <a:gd name="connsiteY4" fmla="*/ 1806156 h 2807776"/>
              <a:gd name="connsiteX5" fmla="*/ 12192000 w 12192000"/>
              <a:gd name="connsiteY5" fmla="*/ 2807776 h 2807776"/>
              <a:gd name="connsiteX6" fmla="*/ 0 w 12192000"/>
              <a:gd name="connsiteY6" fmla="*/ 2807776 h 2807776"/>
              <a:gd name="connsiteX7" fmla="*/ 0 w 12192000"/>
              <a:gd name="connsiteY7" fmla="*/ 1790215 h 2807776"/>
              <a:gd name="connsiteX8" fmla="*/ 132939 w 12192000"/>
              <a:gd name="connsiteY8" fmla="*/ 1652282 h 2807776"/>
              <a:gd name="connsiteX9" fmla="*/ 898736 w 12192000"/>
              <a:gd name="connsiteY9" fmla="*/ 1087943 h 2807776"/>
              <a:gd name="connsiteX10" fmla="*/ 3349269 w 12192000"/>
              <a:gd name="connsiteY10" fmla="*/ 372622 h 2807776"/>
              <a:gd name="connsiteX11" fmla="*/ 5956181 w 12192000"/>
              <a:gd name="connsiteY11" fmla="*/ 14060 h 2807776"/>
              <a:gd name="connsiteX12" fmla="*/ 6610143 w 12192000"/>
              <a:gd name="connsiteY12" fmla="*/ 252 h 28077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192000" h="2807776">
                <a:moveTo>
                  <a:pt x="6610143" y="252"/>
                </a:moveTo>
                <a:cubicBezTo>
                  <a:pt x="8138062" y="10306"/>
                  <a:pt x="9671212" y="320407"/>
                  <a:pt x="11024547" y="1017455"/>
                </a:cubicBezTo>
                <a:cubicBezTo>
                  <a:pt x="11131745" y="1071338"/>
                  <a:pt x="11235095" y="1132878"/>
                  <a:pt x="11338443" y="1194420"/>
                </a:cubicBezTo>
                <a:cubicBezTo>
                  <a:pt x="11623615" y="1361742"/>
                  <a:pt x="11898203" y="1550121"/>
                  <a:pt x="12147343" y="1765275"/>
                </a:cubicBezTo>
                <a:lnTo>
                  <a:pt x="12192000" y="1806156"/>
                </a:lnTo>
                <a:lnTo>
                  <a:pt x="12192000" y="2807776"/>
                </a:lnTo>
                <a:lnTo>
                  <a:pt x="0" y="2807776"/>
                </a:lnTo>
                <a:lnTo>
                  <a:pt x="0" y="1790215"/>
                </a:lnTo>
                <a:lnTo>
                  <a:pt x="132939" y="1652282"/>
                </a:lnTo>
                <a:cubicBezTo>
                  <a:pt x="365526" y="1427192"/>
                  <a:pt x="628227" y="1234924"/>
                  <a:pt x="898736" y="1087943"/>
                </a:cubicBezTo>
                <a:cubicBezTo>
                  <a:pt x="1604763" y="694687"/>
                  <a:pt x="2574735" y="539610"/>
                  <a:pt x="3349269" y="372622"/>
                </a:cubicBezTo>
                <a:cubicBezTo>
                  <a:pt x="4204344" y="178974"/>
                  <a:pt x="5082268" y="54363"/>
                  <a:pt x="5956181" y="14060"/>
                </a:cubicBezTo>
                <a:cubicBezTo>
                  <a:pt x="6173702" y="3503"/>
                  <a:pt x="6391870" y="-1184"/>
                  <a:pt x="6610143" y="252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B52D6111-92DD-4903-A10F-8392BE873D14}"/>
              </a:ext>
            </a:extLst>
          </p:cNvPr>
          <p:cNvGrpSpPr/>
          <p:nvPr/>
        </p:nvGrpSpPr>
        <p:grpSpPr>
          <a:xfrm rot="16200000">
            <a:off x="797214" y="-332152"/>
            <a:ext cx="208395" cy="1314681"/>
            <a:chOff x="243840" y="162560"/>
            <a:chExt cx="325120" cy="2051050"/>
          </a:xfrm>
        </p:grpSpPr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4270B2FA-7AC9-42B6-A190-DB82718EC229}"/>
                </a:ext>
              </a:extLst>
            </p:cNvPr>
            <p:cNvSpPr/>
            <p:nvPr/>
          </p:nvSpPr>
          <p:spPr>
            <a:xfrm>
              <a:off x="243840" y="162560"/>
              <a:ext cx="325120" cy="1097280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Rectangle: Rounded Corners 21">
              <a:extLst>
                <a:ext uri="{FF2B5EF4-FFF2-40B4-BE49-F238E27FC236}">
                  <a16:creationId xmlns:a16="http://schemas.microsoft.com/office/drawing/2014/main" id="{7F525500-805E-4370-ABE0-78D6DD058314}"/>
                </a:ext>
              </a:extLst>
            </p:cNvPr>
            <p:cNvSpPr/>
            <p:nvPr/>
          </p:nvSpPr>
          <p:spPr>
            <a:xfrm>
              <a:off x="243840" y="1324610"/>
              <a:ext cx="325120" cy="508000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14A748D8-D138-4EF1-838E-8FB875AE8745}"/>
                </a:ext>
              </a:extLst>
            </p:cNvPr>
            <p:cNvSpPr/>
            <p:nvPr/>
          </p:nvSpPr>
          <p:spPr>
            <a:xfrm>
              <a:off x="243840" y="1897380"/>
              <a:ext cx="325120" cy="316230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5E08CE04-C4BA-4D62-8A2C-7F5AD60FF837}"/>
              </a:ext>
            </a:extLst>
          </p:cNvPr>
          <p:cNvGrpSpPr/>
          <p:nvPr/>
        </p:nvGrpSpPr>
        <p:grpSpPr>
          <a:xfrm rot="10800000">
            <a:off x="11739534" y="5342648"/>
            <a:ext cx="208395" cy="1314681"/>
            <a:chOff x="243840" y="162560"/>
            <a:chExt cx="325120" cy="2051050"/>
          </a:xfrm>
        </p:grpSpPr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A80ADCE8-EBDA-40D8-99DA-3113E85B0327}"/>
                </a:ext>
              </a:extLst>
            </p:cNvPr>
            <p:cNvSpPr/>
            <p:nvPr/>
          </p:nvSpPr>
          <p:spPr>
            <a:xfrm>
              <a:off x="243840" y="162560"/>
              <a:ext cx="325120" cy="1097280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533E2DE5-E313-4114-A338-C9993F509CB8}"/>
                </a:ext>
              </a:extLst>
            </p:cNvPr>
            <p:cNvSpPr/>
            <p:nvPr/>
          </p:nvSpPr>
          <p:spPr>
            <a:xfrm>
              <a:off x="243840" y="1324610"/>
              <a:ext cx="325120" cy="508000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Rectangle: Rounded Corners 26">
              <a:extLst>
                <a:ext uri="{FF2B5EF4-FFF2-40B4-BE49-F238E27FC236}">
                  <a16:creationId xmlns:a16="http://schemas.microsoft.com/office/drawing/2014/main" id="{5C7257CC-A579-4E43-B8F7-0D923C88354B}"/>
                </a:ext>
              </a:extLst>
            </p:cNvPr>
            <p:cNvSpPr/>
            <p:nvPr/>
          </p:nvSpPr>
          <p:spPr>
            <a:xfrm>
              <a:off x="243840" y="1897380"/>
              <a:ext cx="325120" cy="316230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8" name="TextBox 37">
            <a:extLst>
              <a:ext uri="{FF2B5EF4-FFF2-40B4-BE49-F238E27FC236}">
                <a16:creationId xmlns:a16="http://schemas.microsoft.com/office/drawing/2014/main" id="{3D323ACD-DF4E-46A1-9DCA-C490B07CEE06}"/>
              </a:ext>
            </a:extLst>
          </p:cNvPr>
          <p:cNvSpPr txBox="1"/>
          <p:nvPr/>
        </p:nvSpPr>
        <p:spPr>
          <a:xfrm>
            <a:off x="166491" y="469650"/>
            <a:ext cx="324655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i="1" dirty="0">
                <a:latin typeface="Segoe UI" panose="020B0502040204020203" pitchFamily="34" charset="0"/>
                <a:cs typeface="Segoe UI" panose="020B0502040204020203" pitchFamily="34" charset="0"/>
              </a:rPr>
              <a:t>Envi</a:t>
            </a:r>
            <a:r>
              <a:rPr lang="en-US" sz="4000" b="1" i="1" dirty="0">
                <a:solidFill>
                  <a:schemeClr val="accent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onment</a:t>
            </a:r>
            <a:endParaRPr lang="id-ID" sz="4000" b="1" i="1" dirty="0">
              <a:solidFill>
                <a:schemeClr val="accent4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CD9EC430-19DB-4E61-9452-6FBC89163769}"/>
              </a:ext>
            </a:extLst>
          </p:cNvPr>
          <p:cNvSpPr/>
          <p:nvPr/>
        </p:nvSpPr>
        <p:spPr>
          <a:xfrm>
            <a:off x="1558752" y="5065507"/>
            <a:ext cx="1883488" cy="2933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sz="12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TL Architecture Diagram</a:t>
            </a:r>
          </a:p>
        </p:txBody>
      </p:sp>
      <p:sp>
        <p:nvSpPr>
          <p:cNvPr id="41" name="Rectangle 25">
            <a:extLst>
              <a:ext uri="{FF2B5EF4-FFF2-40B4-BE49-F238E27FC236}">
                <a16:creationId xmlns:a16="http://schemas.microsoft.com/office/drawing/2014/main" id="{1EE240F4-C88E-D675-AAA6-4B33BD9D3D2B}"/>
              </a:ext>
            </a:extLst>
          </p:cNvPr>
          <p:cNvSpPr/>
          <p:nvPr/>
        </p:nvSpPr>
        <p:spPr>
          <a:xfrm>
            <a:off x="161037" y="6374139"/>
            <a:ext cx="1658798" cy="2965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sz="1200" b="1" dirty="0">
                <a:solidFill>
                  <a:schemeClr val="bg1"/>
                </a:solidFill>
                <a:latin typeface="Montserrat" panose="00000500000000000000" pitchFamily="50" charset="0"/>
                <a:cs typeface="Segoe UI" panose="020B0502040204020203" pitchFamily="34" charset="0"/>
              </a:rPr>
              <a:t>#AYOPAKAIDATA</a:t>
            </a:r>
          </a:p>
        </p:txBody>
      </p:sp>
      <p:pic>
        <p:nvPicPr>
          <p:cNvPr id="4" name="Gambar 3">
            <a:extLst>
              <a:ext uri="{FF2B5EF4-FFF2-40B4-BE49-F238E27FC236}">
                <a16:creationId xmlns:a16="http://schemas.microsoft.com/office/drawing/2014/main" id="{4E20EB3A-13C7-5007-1DF2-FAA63F51F1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0948" y="2196482"/>
            <a:ext cx="4657581" cy="2609937"/>
          </a:xfrm>
          <a:prstGeom prst="rect">
            <a:avLst/>
          </a:prstGeom>
        </p:spPr>
      </p:pic>
      <p:pic>
        <p:nvPicPr>
          <p:cNvPr id="7" name="Gambar 6">
            <a:extLst>
              <a:ext uri="{FF2B5EF4-FFF2-40B4-BE49-F238E27FC236}">
                <a16:creationId xmlns:a16="http://schemas.microsoft.com/office/drawing/2014/main" id="{0B23355C-B81A-7A58-27BE-7E04EDEA3A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63085" y="1177536"/>
            <a:ext cx="6312435" cy="4776459"/>
          </a:xfrm>
          <a:prstGeom prst="rect">
            <a:avLst/>
          </a:prstGeom>
        </p:spPr>
      </p:pic>
      <p:sp>
        <p:nvSpPr>
          <p:cNvPr id="42" name="Rectangle 38">
            <a:extLst>
              <a:ext uri="{FF2B5EF4-FFF2-40B4-BE49-F238E27FC236}">
                <a16:creationId xmlns:a16="http://schemas.microsoft.com/office/drawing/2014/main" id="{D545BD07-7906-F747-F3B2-1041D5DBC1BD}"/>
              </a:ext>
            </a:extLst>
          </p:cNvPr>
          <p:cNvSpPr/>
          <p:nvPr/>
        </p:nvSpPr>
        <p:spPr>
          <a:xfrm>
            <a:off x="7538210" y="6012312"/>
            <a:ext cx="2143672" cy="2933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sz="12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tegration Design Diagram</a:t>
            </a:r>
          </a:p>
        </p:txBody>
      </p:sp>
    </p:spTree>
    <p:extLst>
      <p:ext uri="{BB962C8B-B14F-4D97-AF65-F5344CB8AC3E}">
        <p14:creationId xmlns:p14="http://schemas.microsoft.com/office/powerpoint/2010/main" val="1638280589"/>
      </p:ext>
    </p:extLst>
  </p:cSld>
  <p:clrMapOvr>
    <a:masterClrMapping/>
  </p:clrMapOvr>
  <p:transition spd="slow">
    <p:wip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E7367D39-42CD-44A0-8842-4747CE37581E}"/>
              </a:ext>
            </a:extLst>
          </p:cNvPr>
          <p:cNvSpPr txBox="1"/>
          <p:nvPr/>
        </p:nvSpPr>
        <p:spPr>
          <a:xfrm>
            <a:off x="2342153" y="3767157"/>
            <a:ext cx="119090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Insert Title Her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F801A44-E1C3-44CE-93AA-284047F3AFF1}"/>
              </a:ext>
            </a:extLst>
          </p:cNvPr>
          <p:cNvSpPr txBox="1"/>
          <p:nvPr/>
        </p:nvSpPr>
        <p:spPr>
          <a:xfrm>
            <a:off x="6292802" y="3767157"/>
            <a:ext cx="119090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Insert Title Her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9DAFBAC-BDB0-4268-A265-EBE968D66200}"/>
              </a:ext>
            </a:extLst>
          </p:cNvPr>
          <p:cNvSpPr txBox="1"/>
          <p:nvPr/>
        </p:nvSpPr>
        <p:spPr>
          <a:xfrm>
            <a:off x="8270997" y="3767157"/>
            <a:ext cx="119090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Insert Title Here</a:t>
            </a:r>
          </a:p>
        </p:txBody>
      </p:sp>
      <p:grpSp>
        <p:nvGrpSpPr>
          <p:cNvPr id="17" name="Group 428">
            <a:extLst>
              <a:ext uri="{FF2B5EF4-FFF2-40B4-BE49-F238E27FC236}">
                <a16:creationId xmlns:a16="http://schemas.microsoft.com/office/drawing/2014/main" id="{452017FF-1B26-4828-91A7-031DA73F731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713417" y="4348628"/>
            <a:ext cx="440167" cy="440167"/>
            <a:chOff x="3226" y="1077"/>
            <a:chExt cx="215" cy="215"/>
          </a:xfrm>
          <a:solidFill>
            <a:schemeClr val="bg1"/>
          </a:solidFill>
        </p:grpSpPr>
        <p:sp>
          <p:nvSpPr>
            <p:cNvPr id="18" name="Freeform 430">
              <a:extLst>
                <a:ext uri="{FF2B5EF4-FFF2-40B4-BE49-F238E27FC236}">
                  <a16:creationId xmlns:a16="http://schemas.microsoft.com/office/drawing/2014/main" id="{5F43FBFC-854C-40E0-89CF-F471F7778F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26" y="1077"/>
              <a:ext cx="215" cy="215"/>
            </a:xfrm>
            <a:custGeom>
              <a:avLst/>
              <a:gdLst>
                <a:gd name="T0" fmla="*/ 1431 w 3440"/>
                <a:gd name="T1" fmla="*/ 254 h 3436"/>
                <a:gd name="T2" fmla="*/ 1076 w 3440"/>
                <a:gd name="T3" fmla="*/ 372 h 3436"/>
                <a:gd name="T4" fmla="*/ 766 w 3440"/>
                <a:gd name="T5" fmla="*/ 571 h 3436"/>
                <a:gd name="T6" fmla="*/ 514 w 3440"/>
                <a:gd name="T7" fmla="*/ 837 h 3436"/>
                <a:gd name="T8" fmla="*/ 335 w 3440"/>
                <a:gd name="T9" fmla="*/ 1159 h 3436"/>
                <a:gd name="T10" fmla="*/ 238 w 3440"/>
                <a:gd name="T11" fmla="*/ 1523 h 3436"/>
                <a:gd name="T12" fmla="*/ 238 w 3440"/>
                <a:gd name="T13" fmla="*/ 1913 h 3436"/>
                <a:gd name="T14" fmla="*/ 335 w 3440"/>
                <a:gd name="T15" fmla="*/ 2277 h 3436"/>
                <a:gd name="T16" fmla="*/ 514 w 3440"/>
                <a:gd name="T17" fmla="*/ 2599 h 3436"/>
                <a:gd name="T18" fmla="*/ 766 w 3440"/>
                <a:gd name="T19" fmla="*/ 2865 h 3436"/>
                <a:gd name="T20" fmla="*/ 1076 w 3440"/>
                <a:gd name="T21" fmla="*/ 3064 h 3436"/>
                <a:gd name="T22" fmla="*/ 1431 w 3440"/>
                <a:gd name="T23" fmla="*/ 3181 h 3436"/>
                <a:gd name="T24" fmla="*/ 1818 w 3440"/>
                <a:gd name="T25" fmla="*/ 3207 h 3436"/>
                <a:gd name="T26" fmla="*/ 2192 w 3440"/>
                <a:gd name="T27" fmla="*/ 3134 h 3436"/>
                <a:gd name="T28" fmla="*/ 2526 w 3440"/>
                <a:gd name="T29" fmla="*/ 2974 h 3436"/>
                <a:gd name="T30" fmla="*/ 2808 w 3440"/>
                <a:gd name="T31" fmla="*/ 2740 h 3436"/>
                <a:gd name="T32" fmla="*/ 3025 w 3440"/>
                <a:gd name="T33" fmla="*/ 2444 h 3436"/>
                <a:gd name="T34" fmla="*/ 3164 w 3440"/>
                <a:gd name="T35" fmla="*/ 2099 h 3436"/>
                <a:gd name="T36" fmla="*/ 3214 w 3440"/>
                <a:gd name="T37" fmla="*/ 1718 h 3436"/>
                <a:gd name="T38" fmla="*/ 3164 w 3440"/>
                <a:gd name="T39" fmla="*/ 1337 h 3436"/>
                <a:gd name="T40" fmla="*/ 3025 w 3440"/>
                <a:gd name="T41" fmla="*/ 992 h 3436"/>
                <a:gd name="T42" fmla="*/ 2808 w 3440"/>
                <a:gd name="T43" fmla="*/ 696 h 3436"/>
                <a:gd name="T44" fmla="*/ 2526 w 3440"/>
                <a:gd name="T45" fmla="*/ 463 h 3436"/>
                <a:gd name="T46" fmla="*/ 2192 w 3440"/>
                <a:gd name="T47" fmla="*/ 303 h 3436"/>
                <a:gd name="T48" fmla="*/ 1818 w 3440"/>
                <a:gd name="T49" fmla="*/ 229 h 3436"/>
                <a:gd name="T50" fmla="*/ 1936 w 3440"/>
                <a:gd name="T51" fmla="*/ 13 h 3436"/>
                <a:gd name="T52" fmla="*/ 2341 w 3440"/>
                <a:gd name="T53" fmla="*/ 116 h 3436"/>
                <a:gd name="T54" fmla="*/ 2703 w 3440"/>
                <a:gd name="T55" fmla="*/ 308 h 3436"/>
                <a:gd name="T56" fmla="*/ 3006 w 3440"/>
                <a:gd name="T57" fmla="*/ 577 h 3436"/>
                <a:gd name="T58" fmla="*/ 3239 w 3440"/>
                <a:gd name="T59" fmla="*/ 911 h 3436"/>
                <a:gd name="T60" fmla="*/ 3388 w 3440"/>
                <a:gd name="T61" fmla="*/ 1295 h 3436"/>
                <a:gd name="T62" fmla="*/ 3440 w 3440"/>
                <a:gd name="T63" fmla="*/ 1718 h 3436"/>
                <a:gd name="T64" fmla="*/ 3388 w 3440"/>
                <a:gd name="T65" fmla="*/ 2141 h 3436"/>
                <a:gd name="T66" fmla="*/ 3239 w 3440"/>
                <a:gd name="T67" fmla="*/ 2525 h 3436"/>
                <a:gd name="T68" fmla="*/ 3006 w 3440"/>
                <a:gd name="T69" fmla="*/ 2858 h 3436"/>
                <a:gd name="T70" fmla="*/ 2703 w 3440"/>
                <a:gd name="T71" fmla="*/ 3128 h 3436"/>
                <a:gd name="T72" fmla="*/ 2341 w 3440"/>
                <a:gd name="T73" fmla="*/ 3320 h 3436"/>
                <a:gd name="T74" fmla="*/ 1936 w 3440"/>
                <a:gd name="T75" fmla="*/ 3422 h 3436"/>
                <a:gd name="T76" fmla="*/ 1505 w 3440"/>
                <a:gd name="T77" fmla="*/ 3422 h 3436"/>
                <a:gd name="T78" fmla="*/ 1099 w 3440"/>
                <a:gd name="T79" fmla="*/ 3320 h 3436"/>
                <a:gd name="T80" fmla="*/ 738 w 3440"/>
                <a:gd name="T81" fmla="*/ 3128 h 3436"/>
                <a:gd name="T82" fmla="*/ 434 w 3440"/>
                <a:gd name="T83" fmla="*/ 2858 h 3436"/>
                <a:gd name="T84" fmla="*/ 201 w 3440"/>
                <a:gd name="T85" fmla="*/ 2525 h 3436"/>
                <a:gd name="T86" fmla="*/ 53 w 3440"/>
                <a:gd name="T87" fmla="*/ 2141 h 3436"/>
                <a:gd name="T88" fmla="*/ 0 w 3440"/>
                <a:gd name="T89" fmla="*/ 1718 h 3436"/>
                <a:gd name="T90" fmla="*/ 30 w 3440"/>
                <a:gd name="T91" fmla="*/ 1398 h 3436"/>
                <a:gd name="T92" fmla="*/ 156 w 3440"/>
                <a:gd name="T93" fmla="*/ 1002 h 3436"/>
                <a:gd name="T94" fmla="*/ 369 w 3440"/>
                <a:gd name="T95" fmla="*/ 655 h 3436"/>
                <a:gd name="T96" fmla="*/ 656 w 3440"/>
                <a:gd name="T97" fmla="*/ 369 h 3436"/>
                <a:gd name="T98" fmla="*/ 1004 w 3440"/>
                <a:gd name="T99" fmla="*/ 157 h 3436"/>
                <a:gd name="T100" fmla="*/ 1399 w 3440"/>
                <a:gd name="T101" fmla="*/ 30 h 34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440" h="3436">
                  <a:moveTo>
                    <a:pt x="1720" y="226"/>
                  </a:moveTo>
                  <a:lnTo>
                    <a:pt x="1622" y="229"/>
                  </a:lnTo>
                  <a:lnTo>
                    <a:pt x="1526" y="239"/>
                  </a:lnTo>
                  <a:lnTo>
                    <a:pt x="1431" y="254"/>
                  </a:lnTo>
                  <a:lnTo>
                    <a:pt x="1338" y="275"/>
                  </a:lnTo>
                  <a:lnTo>
                    <a:pt x="1249" y="303"/>
                  </a:lnTo>
                  <a:lnTo>
                    <a:pt x="1160" y="334"/>
                  </a:lnTo>
                  <a:lnTo>
                    <a:pt x="1076" y="372"/>
                  </a:lnTo>
                  <a:lnTo>
                    <a:pt x="994" y="414"/>
                  </a:lnTo>
                  <a:lnTo>
                    <a:pt x="915" y="463"/>
                  </a:lnTo>
                  <a:lnTo>
                    <a:pt x="839" y="514"/>
                  </a:lnTo>
                  <a:lnTo>
                    <a:pt x="766" y="571"/>
                  </a:lnTo>
                  <a:lnTo>
                    <a:pt x="696" y="632"/>
                  </a:lnTo>
                  <a:lnTo>
                    <a:pt x="632" y="696"/>
                  </a:lnTo>
                  <a:lnTo>
                    <a:pt x="571" y="765"/>
                  </a:lnTo>
                  <a:lnTo>
                    <a:pt x="514" y="837"/>
                  </a:lnTo>
                  <a:lnTo>
                    <a:pt x="463" y="913"/>
                  </a:lnTo>
                  <a:lnTo>
                    <a:pt x="415" y="992"/>
                  </a:lnTo>
                  <a:lnTo>
                    <a:pt x="372" y="1074"/>
                  </a:lnTo>
                  <a:lnTo>
                    <a:pt x="335" y="1159"/>
                  </a:lnTo>
                  <a:lnTo>
                    <a:pt x="302" y="1247"/>
                  </a:lnTo>
                  <a:lnTo>
                    <a:pt x="275" y="1337"/>
                  </a:lnTo>
                  <a:lnTo>
                    <a:pt x="254" y="1430"/>
                  </a:lnTo>
                  <a:lnTo>
                    <a:pt x="238" y="1523"/>
                  </a:lnTo>
                  <a:lnTo>
                    <a:pt x="229" y="1620"/>
                  </a:lnTo>
                  <a:lnTo>
                    <a:pt x="225" y="1718"/>
                  </a:lnTo>
                  <a:lnTo>
                    <a:pt x="229" y="1816"/>
                  </a:lnTo>
                  <a:lnTo>
                    <a:pt x="238" y="1913"/>
                  </a:lnTo>
                  <a:lnTo>
                    <a:pt x="254" y="2006"/>
                  </a:lnTo>
                  <a:lnTo>
                    <a:pt x="275" y="2099"/>
                  </a:lnTo>
                  <a:lnTo>
                    <a:pt x="302" y="2189"/>
                  </a:lnTo>
                  <a:lnTo>
                    <a:pt x="335" y="2277"/>
                  </a:lnTo>
                  <a:lnTo>
                    <a:pt x="372" y="2362"/>
                  </a:lnTo>
                  <a:lnTo>
                    <a:pt x="415" y="2444"/>
                  </a:lnTo>
                  <a:lnTo>
                    <a:pt x="463" y="2523"/>
                  </a:lnTo>
                  <a:lnTo>
                    <a:pt x="514" y="2599"/>
                  </a:lnTo>
                  <a:lnTo>
                    <a:pt x="571" y="2671"/>
                  </a:lnTo>
                  <a:lnTo>
                    <a:pt x="632" y="2740"/>
                  </a:lnTo>
                  <a:lnTo>
                    <a:pt x="696" y="2805"/>
                  </a:lnTo>
                  <a:lnTo>
                    <a:pt x="766" y="2865"/>
                  </a:lnTo>
                  <a:lnTo>
                    <a:pt x="839" y="2922"/>
                  </a:lnTo>
                  <a:lnTo>
                    <a:pt x="915" y="2974"/>
                  </a:lnTo>
                  <a:lnTo>
                    <a:pt x="994" y="3021"/>
                  </a:lnTo>
                  <a:lnTo>
                    <a:pt x="1076" y="3064"/>
                  </a:lnTo>
                  <a:lnTo>
                    <a:pt x="1160" y="3101"/>
                  </a:lnTo>
                  <a:lnTo>
                    <a:pt x="1249" y="3134"/>
                  </a:lnTo>
                  <a:lnTo>
                    <a:pt x="1338" y="3160"/>
                  </a:lnTo>
                  <a:lnTo>
                    <a:pt x="1431" y="3181"/>
                  </a:lnTo>
                  <a:lnTo>
                    <a:pt x="1526" y="3197"/>
                  </a:lnTo>
                  <a:lnTo>
                    <a:pt x="1622" y="3207"/>
                  </a:lnTo>
                  <a:lnTo>
                    <a:pt x="1720" y="3210"/>
                  </a:lnTo>
                  <a:lnTo>
                    <a:pt x="1818" y="3207"/>
                  </a:lnTo>
                  <a:lnTo>
                    <a:pt x="1914" y="3197"/>
                  </a:lnTo>
                  <a:lnTo>
                    <a:pt x="2009" y="3181"/>
                  </a:lnTo>
                  <a:lnTo>
                    <a:pt x="2101" y="3160"/>
                  </a:lnTo>
                  <a:lnTo>
                    <a:pt x="2192" y="3134"/>
                  </a:lnTo>
                  <a:lnTo>
                    <a:pt x="2279" y="3101"/>
                  </a:lnTo>
                  <a:lnTo>
                    <a:pt x="2364" y="3064"/>
                  </a:lnTo>
                  <a:lnTo>
                    <a:pt x="2447" y="3021"/>
                  </a:lnTo>
                  <a:lnTo>
                    <a:pt x="2526" y="2974"/>
                  </a:lnTo>
                  <a:lnTo>
                    <a:pt x="2601" y="2922"/>
                  </a:lnTo>
                  <a:lnTo>
                    <a:pt x="2674" y="2865"/>
                  </a:lnTo>
                  <a:lnTo>
                    <a:pt x="2743" y="2805"/>
                  </a:lnTo>
                  <a:lnTo>
                    <a:pt x="2808" y="2740"/>
                  </a:lnTo>
                  <a:lnTo>
                    <a:pt x="2869" y="2671"/>
                  </a:lnTo>
                  <a:lnTo>
                    <a:pt x="2925" y="2599"/>
                  </a:lnTo>
                  <a:lnTo>
                    <a:pt x="2978" y="2523"/>
                  </a:lnTo>
                  <a:lnTo>
                    <a:pt x="3025" y="2444"/>
                  </a:lnTo>
                  <a:lnTo>
                    <a:pt x="3067" y="2362"/>
                  </a:lnTo>
                  <a:lnTo>
                    <a:pt x="3105" y="2277"/>
                  </a:lnTo>
                  <a:lnTo>
                    <a:pt x="3138" y="2189"/>
                  </a:lnTo>
                  <a:lnTo>
                    <a:pt x="3164" y="2099"/>
                  </a:lnTo>
                  <a:lnTo>
                    <a:pt x="3186" y="2006"/>
                  </a:lnTo>
                  <a:lnTo>
                    <a:pt x="3201" y="1913"/>
                  </a:lnTo>
                  <a:lnTo>
                    <a:pt x="3210" y="1816"/>
                  </a:lnTo>
                  <a:lnTo>
                    <a:pt x="3214" y="1718"/>
                  </a:lnTo>
                  <a:lnTo>
                    <a:pt x="3210" y="1620"/>
                  </a:lnTo>
                  <a:lnTo>
                    <a:pt x="3201" y="1523"/>
                  </a:lnTo>
                  <a:lnTo>
                    <a:pt x="3186" y="1430"/>
                  </a:lnTo>
                  <a:lnTo>
                    <a:pt x="3164" y="1337"/>
                  </a:lnTo>
                  <a:lnTo>
                    <a:pt x="3138" y="1247"/>
                  </a:lnTo>
                  <a:lnTo>
                    <a:pt x="3105" y="1159"/>
                  </a:lnTo>
                  <a:lnTo>
                    <a:pt x="3067" y="1074"/>
                  </a:lnTo>
                  <a:lnTo>
                    <a:pt x="3025" y="992"/>
                  </a:lnTo>
                  <a:lnTo>
                    <a:pt x="2978" y="913"/>
                  </a:lnTo>
                  <a:lnTo>
                    <a:pt x="2925" y="837"/>
                  </a:lnTo>
                  <a:lnTo>
                    <a:pt x="2869" y="765"/>
                  </a:lnTo>
                  <a:lnTo>
                    <a:pt x="2808" y="696"/>
                  </a:lnTo>
                  <a:lnTo>
                    <a:pt x="2743" y="632"/>
                  </a:lnTo>
                  <a:lnTo>
                    <a:pt x="2674" y="571"/>
                  </a:lnTo>
                  <a:lnTo>
                    <a:pt x="2601" y="514"/>
                  </a:lnTo>
                  <a:lnTo>
                    <a:pt x="2526" y="463"/>
                  </a:lnTo>
                  <a:lnTo>
                    <a:pt x="2447" y="414"/>
                  </a:lnTo>
                  <a:lnTo>
                    <a:pt x="2364" y="372"/>
                  </a:lnTo>
                  <a:lnTo>
                    <a:pt x="2279" y="334"/>
                  </a:lnTo>
                  <a:lnTo>
                    <a:pt x="2192" y="303"/>
                  </a:lnTo>
                  <a:lnTo>
                    <a:pt x="2101" y="275"/>
                  </a:lnTo>
                  <a:lnTo>
                    <a:pt x="2009" y="254"/>
                  </a:lnTo>
                  <a:lnTo>
                    <a:pt x="1914" y="239"/>
                  </a:lnTo>
                  <a:lnTo>
                    <a:pt x="1818" y="229"/>
                  </a:lnTo>
                  <a:lnTo>
                    <a:pt x="1720" y="226"/>
                  </a:lnTo>
                  <a:close/>
                  <a:moveTo>
                    <a:pt x="1720" y="0"/>
                  </a:moveTo>
                  <a:lnTo>
                    <a:pt x="1828" y="4"/>
                  </a:lnTo>
                  <a:lnTo>
                    <a:pt x="1936" y="13"/>
                  </a:lnTo>
                  <a:lnTo>
                    <a:pt x="2040" y="30"/>
                  </a:lnTo>
                  <a:lnTo>
                    <a:pt x="2143" y="52"/>
                  </a:lnTo>
                  <a:lnTo>
                    <a:pt x="2243" y="82"/>
                  </a:lnTo>
                  <a:lnTo>
                    <a:pt x="2341" y="116"/>
                  </a:lnTo>
                  <a:lnTo>
                    <a:pt x="2436" y="157"/>
                  </a:lnTo>
                  <a:lnTo>
                    <a:pt x="2528" y="202"/>
                  </a:lnTo>
                  <a:lnTo>
                    <a:pt x="2617" y="252"/>
                  </a:lnTo>
                  <a:lnTo>
                    <a:pt x="2703" y="308"/>
                  </a:lnTo>
                  <a:lnTo>
                    <a:pt x="2784" y="369"/>
                  </a:lnTo>
                  <a:lnTo>
                    <a:pt x="2862" y="434"/>
                  </a:lnTo>
                  <a:lnTo>
                    <a:pt x="2935" y="504"/>
                  </a:lnTo>
                  <a:lnTo>
                    <a:pt x="3006" y="577"/>
                  </a:lnTo>
                  <a:lnTo>
                    <a:pt x="3071" y="655"/>
                  </a:lnTo>
                  <a:lnTo>
                    <a:pt x="3131" y="737"/>
                  </a:lnTo>
                  <a:lnTo>
                    <a:pt x="3187" y="823"/>
                  </a:lnTo>
                  <a:lnTo>
                    <a:pt x="3239" y="911"/>
                  </a:lnTo>
                  <a:lnTo>
                    <a:pt x="3284" y="1002"/>
                  </a:lnTo>
                  <a:lnTo>
                    <a:pt x="3324" y="1098"/>
                  </a:lnTo>
                  <a:lnTo>
                    <a:pt x="3359" y="1195"/>
                  </a:lnTo>
                  <a:lnTo>
                    <a:pt x="3388" y="1295"/>
                  </a:lnTo>
                  <a:lnTo>
                    <a:pt x="3411" y="1398"/>
                  </a:lnTo>
                  <a:lnTo>
                    <a:pt x="3426" y="1503"/>
                  </a:lnTo>
                  <a:lnTo>
                    <a:pt x="3437" y="1610"/>
                  </a:lnTo>
                  <a:lnTo>
                    <a:pt x="3440" y="1718"/>
                  </a:lnTo>
                  <a:lnTo>
                    <a:pt x="3437" y="1826"/>
                  </a:lnTo>
                  <a:lnTo>
                    <a:pt x="3426" y="1934"/>
                  </a:lnTo>
                  <a:lnTo>
                    <a:pt x="3411" y="2038"/>
                  </a:lnTo>
                  <a:lnTo>
                    <a:pt x="3388" y="2141"/>
                  </a:lnTo>
                  <a:lnTo>
                    <a:pt x="3359" y="2241"/>
                  </a:lnTo>
                  <a:lnTo>
                    <a:pt x="3324" y="2339"/>
                  </a:lnTo>
                  <a:lnTo>
                    <a:pt x="3284" y="2433"/>
                  </a:lnTo>
                  <a:lnTo>
                    <a:pt x="3239" y="2525"/>
                  </a:lnTo>
                  <a:lnTo>
                    <a:pt x="3187" y="2613"/>
                  </a:lnTo>
                  <a:lnTo>
                    <a:pt x="3131" y="2698"/>
                  </a:lnTo>
                  <a:lnTo>
                    <a:pt x="3071" y="2781"/>
                  </a:lnTo>
                  <a:lnTo>
                    <a:pt x="3006" y="2858"/>
                  </a:lnTo>
                  <a:lnTo>
                    <a:pt x="2935" y="2932"/>
                  </a:lnTo>
                  <a:lnTo>
                    <a:pt x="2862" y="3001"/>
                  </a:lnTo>
                  <a:lnTo>
                    <a:pt x="2784" y="3067"/>
                  </a:lnTo>
                  <a:lnTo>
                    <a:pt x="2703" y="3128"/>
                  </a:lnTo>
                  <a:lnTo>
                    <a:pt x="2617" y="3184"/>
                  </a:lnTo>
                  <a:lnTo>
                    <a:pt x="2528" y="3234"/>
                  </a:lnTo>
                  <a:lnTo>
                    <a:pt x="2436" y="3280"/>
                  </a:lnTo>
                  <a:lnTo>
                    <a:pt x="2341" y="3320"/>
                  </a:lnTo>
                  <a:lnTo>
                    <a:pt x="2243" y="3355"/>
                  </a:lnTo>
                  <a:lnTo>
                    <a:pt x="2143" y="3383"/>
                  </a:lnTo>
                  <a:lnTo>
                    <a:pt x="2040" y="3405"/>
                  </a:lnTo>
                  <a:lnTo>
                    <a:pt x="1936" y="3422"/>
                  </a:lnTo>
                  <a:lnTo>
                    <a:pt x="1828" y="3433"/>
                  </a:lnTo>
                  <a:lnTo>
                    <a:pt x="1720" y="3436"/>
                  </a:lnTo>
                  <a:lnTo>
                    <a:pt x="1611" y="3433"/>
                  </a:lnTo>
                  <a:lnTo>
                    <a:pt x="1505" y="3422"/>
                  </a:lnTo>
                  <a:lnTo>
                    <a:pt x="1399" y="3405"/>
                  </a:lnTo>
                  <a:lnTo>
                    <a:pt x="1297" y="3383"/>
                  </a:lnTo>
                  <a:lnTo>
                    <a:pt x="1197" y="3355"/>
                  </a:lnTo>
                  <a:lnTo>
                    <a:pt x="1099" y="3320"/>
                  </a:lnTo>
                  <a:lnTo>
                    <a:pt x="1004" y="3280"/>
                  </a:lnTo>
                  <a:lnTo>
                    <a:pt x="911" y="3234"/>
                  </a:lnTo>
                  <a:lnTo>
                    <a:pt x="823" y="3184"/>
                  </a:lnTo>
                  <a:lnTo>
                    <a:pt x="738" y="3128"/>
                  </a:lnTo>
                  <a:lnTo>
                    <a:pt x="656" y="3067"/>
                  </a:lnTo>
                  <a:lnTo>
                    <a:pt x="578" y="3001"/>
                  </a:lnTo>
                  <a:lnTo>
                    <a:pt x="504" y="2932"/>
                  </a:lnTo>
                  <a:lnTo>
                    <a:pt x="434" y="2858"/>
                  </a:lnTo>
                  <a:lnTo>
                    <a:pt x="369" y="2781"/>
                  </a:lnTo>
                  <a:lnTo>
                    <a:pt x="309" y="2698"/>
                  </a:lnTo>
                  <a:lnTo>
                    <a:pt x="252" y="2613"/>
                  </a:lnTo>
                  <a:lnTo>
                    <a:pt x="201" y="2525"/>
                  </a:lnTo>
                  <a:lnTo>
                    <a:pt x="156" y="2433"/>
                  </a:lnTo>
                  <a:lnTo>
                    <a:pt x="116" y="2339"/>
                  </a:lnTo>
                  <a:lnTo>
                    <a:pt x="81" y="2241"/>
                  </a:lnTo>
                  <a:lnTo>
                    <a:pt x="53" y="2141"/>
                  </a:lnTo>
                  <a:lnTo>
                    <a:pt x="30" y="2038"/>
                  </a:lnTo>
                  <a:lnTo>
                    <a:pt x="13" y="1934"/>
                  </a:lnTo>
                  <a:lnTo>
                    <a:pt x="3" y="1826"/>
                  </a:lnTo>
                  <a:lnTo>
                    <a:pt x="0" y="1718"/>
                  </a:lnTo>
                  <a:lnTo>
                    <a:pt x="0" y="1718"/>
                  </a:lnTo>
                  <a:lnTo>
                    <a:pt x="3" y="1610"/>
                  </a:lnTo>
                  <a:lnTo>
                    <a:pt x="13" y="1503"/>
                  </a:lnTo>
                  <a:lnTo>
                    <a:pt x="30" y="1398"/>
                  </a:lnTo>
                  <a:lnTo>
                    <a:pt x="53" y="1295"/>
                  </a:lnTo>
                  <a:lnTo>
                    <a:pt x="81" y="1195"/>
                  </a:lnTo>
                  <a:lnTo>
                    <a:pt x="116" y="1098"/>
                  </a:lnTo>
                  <a:lnTo>
                    <a:pt x="156" y="1002"/>
                  </a:lnTo>
                  <a:lnTo>
                    <a:pt x="201" y="911"/>
                  </a:lnTo>
                  <a:lnTo>
                    <a:pt x="252" y="823"/>
                  </a:lnTo>
                  <a:lnTo>
                    <a:pt x="309" y="737"/>
                  </a:lnTo>
                  <a:lnTo>
                    <a:pt x="369" y="655"/>
                  </a:lnTo>
                  <a:lnTo>
                    <a:pt x="434" y="577"/>
                  </a:lnTo>
                  <a:lnTo>
                    <a:pt x="504" y="504"/>
                  </a:lnTo>
                  <a:lnTo>
                    <a:pt x="578" y="434"/>
                  </a:lnTo>
                  <a:lnTo>
                    <a:pt x="656" y="369"/>
                  </a:lnTo>
                  <a:lnTo>
                    <a:pt x="738" y="308"/>
                  </a:lnTo>
                  <a:lnTo>
                    <a:pt x="823" y="252"/>
                  </a:lnTo>
                  <a:lnTo>
                    <a:pt x="911" y="202"/>
                  </a:lnTo>
                  <a:lnTo>
                    <a:pt x="1004" y="157"/>
                  </a:lnTo>
                  <a:lnTo>
                    <a:pt x="1099" y="116"/>
                  </a:lnTo>
                  <a:lnTo>
                    <a:pt x="1197" y="82"/>
                  </a:lnTo>
                  <a:lnTo>
                    <a:pt x="1297" y="52"/>
                  </a:lnTo>
                  <a:lnTo>
                    <a:pt x="1399" y="30"/>
                  </a:lnTo>
                  <a:lnTo>
                    <a:pt x="1505" y="13"/>
                  </a:lnTo>
                  <a:lnTo>
                    <a:pt x="1611" y="4"/>
                  </a:lnTo>
                  <a:lnTo>
                    <a:pt x="172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Freeform 431">
              <a:extLst>
                <a:ext uri="{FF2B5EF4-FFF2-40B4-BE49-F238E27FC236}">
                  <a16:creationId xmlns:a16="http://schemas.microsoft.com/office/drawing/2014/main" id="{35741216-263B-4FD1-849B-5C9CC1FEFD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99" y="1105"/>
              <a:ext cx="69" cy="159"/>
            </a:xfrm>
            <a:custGeom>
              <a:avLst/>
              <a:gdLst>
                <a:gd name="T0" fmla="*/ 706 w 1106"/>
                <a:gd name="T1" fmla="*/ 1995 h 2541"/>
                <a:gd name="T2" fmla="*/ 807 w 1106"/>
                <a:gd name="T3" fmla="*/ 1913 h 2541"/>
                <a:gd name="T4" fmla="*/ 867 w 1106"/>
                <a:gd name="T5" fmla="*/ 1798 h 2541"/>
                <a:gd name="T6" fmla="*/ 876 w 1106"/>
                <a:gd name="T7" fmla="*/ 1662 h 2541"/>
                <a:gd name="T8" fmla="*/ 831 w 1106"/>
                <a:gd name="T9" fmla="*/ 1539 h 2541"/>
                <a:gd name="T10" fmla="*/ 743 w 1106"/>
                <a:gd name="T11" fmla="*/ 1445 h 2541"/>
                <a:gd name="T12" fmla="*/ 440 w 1106"/>
                <a:gd name="T13" fmla="*/ 527 h 2541"/>
                <a:gd name="T14" fmla="*/ 329 w 1106"/>
                <a:gd name="T15" fmla="*/ 595 h 2541"/>
                <a:gd name="T16" fmla="*/ 254 w 1106"/>
                <a:gd name="T17" fmla="*/ 701 h 2541"/>
                <a:gd name="T18" fmla="*/ 227 w 1106"/>
                <a:gd name="T19" fmla="*/ 831 h 2541"/>
                <a:gd name="T20" fmla="*/ 254 w 1106"/>
                <a:gd name="T21" fmla="*/ 963 h 2541"/>
                <a:gd name="T22" fmla="*/ 329 w 1106"/>
                <a:gd name="T23" fmla="*/ 1068 h 2541"/>
                <a:gd name="T24" fmla="*/ 440 w 1106"/>
                <a:gd name="T25" fmla="*/ 1136 h 2541"/>
                <a:gd name="T26" fmla="*/ 579 w 1106"/>
                <a:gd name="T27" fmla="*/ 2 h 2541"/>
                <a:gd name="T28" fmla="*/ 641 w 1106"/>
                <a:gd name="T29" fmla="*/ 42 h 2541"/>
                <a:gd name="T30" fmla="*/ 666 w 1106"/>
                <a:gd name="T31" fmla="*/ 113 h 2541"/>
                <a:gd name="T32" fmla="*/ 769 w 1106"/>
                <a:gd name="T33" fmla="*/ 324 h 2541"/>
                <a:gd name="T34" fmla="*/ 906 w 1106"/>
                <a:gd name="T35" fmla="*/ 407 h 2541"/>
                <a:gd name="T36" fmla="*/ 1014 w 1106"/>
                <a:gd name="T37" fmla="*/ 528 h 2541"/>
                <a:gd name="T38" fmla="*/ 1033 w 1106"/>
                <a:gd name="T39" fmla="*/ 592 h 2541"/>
                <a:gd name="T40" fmla="*/ 1014 w 1106"/>
                <a:gd name="T41" fmla="*/ 653 h 2541"/>
                <a:gd name="T42" fmla="*/ 961 w 1106"/>
                <a:gd name="T43" fmla="*/ 695 h 2541"/>
                <a:gd name="T44" fmla="*/ 897 w 1106"/>
                <a:gd name="T45" fmla="*/ 702 h 2541"/>
                <a:gd name="T46" fmla="*/ 839 w 1106"/>
                <a:gd name="T47" fmla="*/ 671 h 2541"/>
                <a:gd name="T48" fmla="*/ 771 w 1106"/>
                <a:gd name="T49" fmla="*/ 590 h 2541"/>
                <a:gd name="T50" fmla="*/ 666 w 1106"/>
                <a:gd name="T51" fmla="*/ 527 h 2541"/>
                <a:gd name="T52" fmla="*/ 777 w 1106"/>
                <a:gd name="T53" fmla="*/ 1205 h 2541"/>
                <a:gd name="T54" fmla="*/ 920 w 1106"/>
                <a:gd name="T55" fmla="*/ 1297 h 2541"/>
                <a:gd name="T56" fmla="*/ 1029 w 1106"/>
                <a:gd name="T57" fmla="*/ 1429 h 2541"/>
                <a:gd name="T58" fmla="*/ 1093 w 1106"/>
                <a:gd name="T59" fmla="*/ 1590 h 2541"/>
                <a:gd name="T60" fmla="*/ 1103 w 1106"/>
                <a:gd name="T61" fmla="*/ 1769 h 2541"/>
                <a:gd name="T62" fmla="*/ 1055 w 1106"/>
                <a:gd name="T63" fmla="*/ 1937 h 2541"/>
                <a:gd name="T64" fmla="*/ 961 w 1106"/>
                <a:gd name="T65" fmla="*/ 2080 h 2541"/>
                <a:gd name="T66" fmla="*/ 829 w 1106"/>
                <a:gd name="T67" fmla="*/ 2186 h 2541"/>
                <a:gd name="T68" fmla="*/ 666 w 1106"/>
                <a:gd name="T69" fmla="*/ 2248 h 2541"/>
                <a:gd name="T70" fmla="*/ 655 w 1106"/>
                <a:gd name="T71" fmla="*/ 2477 h 2541"/>
                <a:gd name="T72" fmla="*/ 603 w 1106"/>
                <a:gd name="T73" fmla="*/ 2529 h 2541"/>
                <a:gd name="T74" fmla="*/ 527 w 1106"/>
                <a:gd name="T75" fmla="*/ 2538 h 2541"/>
                <a:gd name="T76" fmla="*/ 464 w 1106"/>
                <a:gd name="T77" fmla="*/ 2498 h 2541"/>
                <a:gd name="T78" fmla="*/ 440 w 1106"/>
                <a:gd name="T79" fmla="*/ 2427 h 2541"/>
                <a:gd name="T80" fmla="*/ 338 w 1106"/>
                <a:gd name="T81" fmla="*/ 2216 h 2541"/>
                <a:gd name="T82" fmla="*/ 201 w 1106"/>
                <a:gd name="T83" fmla="*/ 2133 h 2541"/>
                <a:gd name="T84" fmla="*/ 92 w 1106"/>
                <a:gd name="T85" fmla="*/ 2012 h 2541"/>
                <a:gd name="T86" fmla="*/ 73 w 1106"/>
                <a:gd name="T87" fmla="*/ 1947 h 2541"/>
                <a:gd name="T88" fmla="*/ 92 w 1106"/>
                <a:gd name="T89" fmla="*/ 1886 h 2541"/>
                <a:gd name="T90" fmla="*/ 145 w 1106"/>
                <a:gd name="T91" fmla="*/ 1844 h 2541"/>
                <a:gd name="T92" fmla="*/ 209 w 1106"/>
                <a:gd name="T93" fmla="*/ 1838 h 2541"/>
                <a:gd name="T94" fmla="*/ 266 w 1106"/>
                <a:gd name="T95" fmla="*/ 1870 h 2541"/>
                <a:gd name="T96" fmla="*/ 336 w 1106"/>
                <a:gd name="T97" fmla="*/ 1950 h 2541"/>
                <a:gd name="T98" fmla="*/ 440 w 1106"/>
                <a:gd name="T99" fmla="*/ 2013 h 2541"/>
                <a:gd name="T100" fmla="*/ 329 w 1106"/>
                <a:gd name="T101" fmla="*/ 1336 h 2541"/>
                <a:gd name="T102" fmla="*/ 185 w 1106"/>
                <a:gd name="T103" fmla="*/ 1243 h 2541"/>
                <a:gd name="T104" fmla="*/ 77 w 1106"/>
                <a:gd name="T105" fmla="*/ 1111 h 2541"/>
                <a:gd name="T106" fmla="*/ 13 w 1106"/>
                <a:gd name="T107" fmla="*/ 951 h 2541"/>
                <a:gd name="T108" fmla="*/ 4 w 1106"/>
                <a:gd name="T109" fmla="*/ 771 h 2541"/>
                <a:gd name="T110" fmla="*/ 50 w 1106"/>
                <a:gd name="T111" fmla="*/ 603 h 2541"/>
                <a:gd name="T112" fmla="*/ 145 w 1106"/>
                <a:gd name="T113" fmla="*/ 460 h 2541"/>
                <a:gd name="T114" fmla="*/ 278 w 1106"/>
                <a:gd name="T115" fmla="*/ 353 h 2541"/>
                <a:gd name="T116" fmla="*/ 440 w 1106"/>
                <a:gd name="T117" fmla="*/ 291 h 2541"/>
                <a:gd name="T118" fmla="*/ 451 w 1106"/>
                <a:gd name="T119" fmla="*/ 63 h 2541"/>
                <a:gd name="T120" fmla="*/ 503 w 1106"/>
                <a:gd name="T121" fmla="*/ 11 h 2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106" h="2541">
                  <a:moveTo>
                    <a:pt x="666" y="1404"/>
                  </a:moveTo>
                  <a:lnTo>
                    <a:pt x="666" y="2013"/>
                  </a:lnTo>
                  <a:lnTo>
                    <a:pt x="706" y="1995"/>
                  </a:lnTo>
                  <a:lnTo>
                    <a:pt x="743" y="1973"/>
                  </a:lnTo>
                  <a:lnTo>
                    <a:pt x="777" y="1944"/>
                  </a:lnTo>
                  <a:lnTo>
                    <a:pt x="807" y="1913"/>
                  </a:lnTo>
                  <a:lnTo>
                    <a:pt x="831" y="1878"/>
                  </a:lnTo>
                  <a:lnTo>
                    <a:pt x="852" y="1839"/>
                  </a:lnTo>
                  <a:lnTo>
                    <a:pt x="867" y="1798"/>
                  </a:lnTo>
                  <a:lnTo>
                    <a:pt x="876" y="1754"/>
                  </a:lnTo>
                  <a:lnTo>
                    <a:pt x="879" y="1709"/>
                  </a:lnTo>
                  <a:lnTo>
                    <a:pt x="876" y="1662"/>
                  </a:lnTo>
                  <a:lnTo>
                    <a:pt x="867" y="1619"/>
                  </a:lnTo>
                  <a:lnTo>
                    <a:pt x="852" y="1577"/>
                  </a:lnTo>
                  <a:lnTo>
                    <a:pt x="831" y="1539"/>
                  </a:lnTo>
                  <a:lnTo>
                    <a:pt x="807" y="1503"/>
                  </a:lnTo>
                  <a:lnTo>
                    <a:pt x="777" y="1472"/>
                  </a:lnTo>
                  <a:lnTo>
                    <a:pt x="743" y="1445"/>
                  </a:lnTo>
                  <a:lnTo>
                    <a:pt x="706" y="1421"/>
                  </a:lnTo>
                  <a:lnTo>
                    <a:pt x="666" y="1404"/>
                  </a:lnTo>
                  <a:close/>
                  <a:moveTo>
                    <a:pt x="440" y="527"/>
                  </a:moveTo>
                  <a:lnTo>
                    <a:pt x="400" y="545"/>
                  </a:lnTo>
                  <a:lnTo>
                    <a:pt x="363" y="568"/>
                  </a:lnTo>
                  <a:lnTo>
                    <a:pt x="329" y="595"/>
                  </a:lnTo>
                  <a:lnTo>
                    <a:pt x="300" y="627"/>
                  </a:lnTo>
                  <a:lnTo>
                    <a:pt x="274" y="662"/>
                  </a:lnTo>
                  <a:lnTo>
                    <a:pt x="254" y="701"/>
                  </a:lnTo>
                  <a:lnTo>
                    <a:pt x="240" y="742"/>
                  </a:lnTo>
                  <a:lnTo>
                    <a:pt x="230" y="786"/>
                  </a:lnTo>
                  <a:lnTo>
                    <a:pt x="227" y="831"/>
                  </a:lnTo>
                  <a:lnTo>
                    <a:pt x="230" y="877"/>
                  </a:lnTo>
                  <a:lnTo>
                    <a:pt x="240" y="922"/>
                  </a:lnTo>
                  <a:lnTo>
                    <a:pt x="254" y="963"/>
                  </a:lnTo>
                  <a:lnTo>
                    <a:pt x="274" y="1001"/>
                  </a:lnTo>
                  <a:lnTo>
                    <a:pt x="300" y="1036"/>
                  </a:lnTo>
                  <a:lnTo>
                    <a:pt x="329" y="1068"/>
                  </a:lnTo>
                  <a:lnTo>
                    <a:pt x="363" y="1095"/>
                  </a:lnTo>
                  <a:lnTo>
                    <a:pt x="400" y="1118"/>
                  </a:lnTo>
                  <a:lnTo>
                    <a:pt x="440" y="1136"/>
                  </a:lnTo>
                  <a:lnTo>
                    <a:pt x="440" y="527"/>
                  </a:lnTo>
                  <a:close/>
                  <a:moveTo>
                    <a:pt x="553" y="0"/>
                  </a:moveTo>
                  <a:lnTo>
                    <a:pt x="579" y="2"/>
                  </a:lnTo>
                  <a:lnTo>
                    <a:pt x="603" y="11"/>
                  </a:lnTo>
                  <a:lnTo>
                    <a:pt x="624" y="24"/>
                  </a:lnTo>
                  <a:lnTo>
                    <a:pt x="641" y="42"/>
                  </a:lnTo>
                  <a:lnTo>
                    <a:pt x="655" y="63"/>
                  </a:lnTo>
                  <a:lnTo>
                    <a:pt x="663" y="86"/>
                  </a:lnTo>
                  <a:lnTo>
                    <a:pt x="666" y="113"/>
                  </a:lnTo>
                  <a:lnTo>
                    <a:pt x="666" y="292"/>
                  </a:lnTo>
                  <a:lnTo>
                    <a:pt x="718" y="306"/>
                  </a:lnTo>
                  <a:lnTo>
                    <a:pt x="769" y="324"/>
                  </a:lnTo>
                  <a:lnTo>
                    <a:pt x="817" y="347"/>
                  </a:lnTo>
                  <a:lnTo>
                    <a:pt x="862" y="376"/>
                  </a:lnTo>
                  <a:lnTo>
                    <a:pt x="906" y="407"/>
                  </a:lnTo>
                  <a:lnTo>
                    <a:pt x="946" y="444"/>
                  </a:lnTo>
                  <a:lnTo>
                    <a:pt x="981" y="484"/>
                  </a:lnTo>
                  <a:lnTo>
                    <a:pt x="1014" y="528"/>
                  </a:lnTo>
                  <a:lnTo>
                    <a:pt x="1025" y="549"/>
                  </a:lnTo>
                  <a:lnTo>
                    <a:pt x="1031" y="570"/>
                  </a:lnTo>
                  <a:lnTo>
                    <a:pt x="1033" y="592"/>
                  </a:lnTo>
                  <a:lnTo>
                    <a:pt x="1030" y="613"/>
                  </a:lnTo>
                  <a:lnTo>
                    <a:pt x="1024" y="634"/>
                  </a:lnTo>
                  <a:lnTo>
                    <a:pt x="1014" y="653"/>
                  </a:lnTo>
                  <a:lnTo>
                    <a:pt x="999" y="671"/>
                  </a:lnTo>
                  <a:lnTo>
                    <a:pt x="981" y="685"/>
                  </a:lnTo>
                  <a:lnTo>
                    <a:pt x="961" y="695"/>
                  </a:lnTo>
                  <a:lnTo>
                    <a:pt x="940" y="702"/>
                  </a:lnTo>
                  <a:lnTo>
                    <a:pt x="918" y="704"/>
                  </a:lnTo>
                  <a:lnTo>
                    <a:pt x="897" y="702"/>
                  </a:lnTo>
                  <a:lnTo>
                    <a:pt x="876" y="695"/>
                  </a:lnTo>
                  <a:lnTo>
                    <a:pt x="857" y="685"/>
                  </a:lnTo>
                  <a:lnTo>
                    <a:pt x="839" y="671"/>
                  </a:lnTo>
                  <a:lnTo>
                    <a:pt x="825" y="653"/>
                  </a:lnTo>
                  <a:lnTo>
                    <a:pt x="800" y="620"/>
                  </a:lnTo>
                  <a:lnTo>
                    <a:pt x="771" y="590"/>
                  </a:lnTo>
                  <a:lnTo>
                    <a:pt x="739" y="564"/>
                  </a:lnTo>
                  <a:lnTo>
                    <a:pt x="703" y="543"/>
                  </a:lnTo>
                  <a:lnTo>
                    <a:pt x="666" y="527"/>
                  </a:lnTo>
                  <a:lnTo>
                    <a:pt x="666" y="1169"/>
                  </a:lnTo>
                  <a:lnTo>
                    <a:pt x="723" y="1184"/>
                  </a:lnTo>
                  <a:lnTo>
                    <a:pt x="777" y="1205"/>
                  </a:lnTo>
                  <a:lnTo>
                    <a:pt x="829" y="1230"/>
                  </a:lnTo>
                  <a:lnTo>
                    <a:pt x="876" y="1261"/>
                  </a:lnTo>
                  <a:lnTo>
                    <a:pt x="920" y="1297"/>
                  </a:lnTo>
                  <a:lnTo>
                    <a:pt x="961" y="1337"/>
                  </a:lnTo>
                  <a:lnTo>
                    <a:pt x="997" y="1380"/>
                  </a:lnTo>
                  <a:lnTo>
                    <a:pt x="1029" y="1429"/>
                  </a:lnTo>
                  <a:lnTo>
                    <a:pt x="1055" y="1479"/>
                  </a:lnTo>
                  <a:lnTo>
                    <a:pt x="1077" y="1533"/>
                  </a:lnTo>
                  <a:lnTo>
                    <a:pt x="1093" y="1590"/>
                  </a:lnTo>
                  <a:lnTo>
                    <a:pt x="1103" y="1648"/>
                  </a:lnTo>
                  <a:lnTo>
                    <a:pt x="1106" y="1709"/>
                  </a:lnTo>
                  <a:lnTo>
                    <a:pt x="1103" y="1769"/>
                  </a:lnTo>
                  <a:lnTo>
                    <a:pt x="1093" y="1828"/>
                  </a:lnTo>
                  <a:lnTo>
                    <a:pt x="1077" y="1883"/>
                  </a:lnTo>
                  <a:lnTo>
                    <a:pt x="1055" y="1937"/>
                  </a:lnTo>
                  <a:lnTo>
                    <a:pt x="1029" y="1988"/>
                  </a:lnTo>
                  <a:lnTo>
                    <a:pt x="997" y="2036"/>
                  </a:lnTo>
                  <a:lnTo>
                    <a:pt x="961" y="2080"/>
                  </a:lnTo>
                  <a:lnTo>
                    <a:pt x="920" y="2120"/>
                  </a:lnTo>
                  <a:lnTo>
                    <a:pt x="876" y="2156"/>
                  </a:lnTo>
                  <a:lnTo>
                    <a:pt x="829" y="2186"/>
                  </a:lnTo>
                  <a:lnTo>
                    <a:pt x="777" y="2213"/>
                  </a:lnTo>
                  <a:lnTo>
                    <a:pt x="723" y="2233"/>
                  </a:lnTo>
                  <a:lnTo>
                    <a:pt x="666" y="2248"/>
                  </a:lnTo>
                  <a:lnTo>
                    <a:pt x="666" y="2427"/>
                  </a:lnTo>
                  <a:lnTo>
                    <a:pt x="663" y="2454"/>
                  </a:lnTo>
                  <a:lnTo>
                    <a:pt x="655" y="2477"/>
                  </a:lnTo>
                  <a:lnTo>
                    <a:pt x="641" y="2498"/>
                  </a:lnTo>
                  <a:lnTo>
                    <a:pt x="624" y="2516"/>
                  </a:lnTo>
                  <a:lnTo>
                    <a:pt x="603" y="2529"/>
                  </a:lnTo>
                  <a:lnTo>
                    <a:pt x="579" y="2538"/>
                  </a:lnTo>
                  <a:lnTo>
                    <a:pt x="553" y="2541"/>
                  </a:lnTo>
                  <a:lnTo>
                    <a:pt x="527" y="2538"/>
                  </a:lnTo>
                  <a:lnTo>
                    <a:pt x="503" y="2529"/>
                  </a:lnTo>
                  <a:lnTo>
                    <a:pt x="482" y="2516"/>
                  </a:lnTo>
                  <a:lnTo>
                    <a:pt x="464" y="2498"/>
                  </a:lnTo>
                  <a:lnTo>
                    <a:pt x="451" y="2477"/>
                  </a:lnTo>
                  <a:lnTo>
                    <a:pt x="443" y="2454"/>
                  </a:lnTo>
                  <a:lnTo>
                    <a:pt x="440" y="2427"/>
                  </a:lnTo>
                  <a:lnTo>
                    <a:pt x="440" y="2247"/>
                  </a:lnTo>
                  <a:lnTo>
                    <a:pt x="387" y="2235"/>
                  </a:lnTo>
                  <a:lnTo>
                    <a:pt x="338" y="2216"/>
                  </a:lnTo>
                  <a:lnTo>
                    <a:pt x="289" y="2193"/>
                  </a:lnTo>
                  <a:lnTo>
                    <a:pt x="244" y="2164"/>
                  </a:lnTo>
                  <a:lnTo>
                    <a:pt x="201" y="2133"/>
                  </a:lnTo>
                  <a:lnTo>
                    <a:pt x="161" y="2096"/>
                  </a:lnTo>
                  <a:lnTo>
                    <a:pt x="125" y="2056"/>
                  </a:lnTo>
                  <a:lnTo>
                    <a:pt x="92" y="2012"/>
                  </a:lnTo>
                  <a:lnTo>
                    <a:pt x="82" y="1991"/>
                  </a:lnTo>
                  <a:lnTo>
                    <a:pt x="75" y="1970"/>
                  </a:lnTo>
                  <a:lnTo>
                    <a:pt x="73" y="1947"/>
                  </a:lnTo>
                  <a:lnTo>
                    <a:pt x="75" y="1926"/>
                  </a:lnTo>
                  <a:lnTo>
                    <a:pt x="82" y="1905"/>
                  </a:lnTo>
                  <a:lnTo>
                    <a:pt x="92" y="1886"/>
                  </a:lnTo>
                  <a:lnTo>
                    <a:pt x="107" y="1870"/>
                  </a:lnTo>
                  <a:lnTo>
                    <a:pt x="124" y="1855"/>
                  </a:lnTo>
                  <a:lnTo>
                    <a:pt x="145" y="1844"/>
                  </a:lnTo>
                  <a:lnTo>
                    <a:pt x="166" y="1838"/>
                  </a:lnTo>
                  <a:lnTo>
                    <a:pt x="188" y="1836"/>
                  </a:lnTo>
                  <a:lnTo>
                    <a:pt x="209" y="1838"/>
                  </a:lnTo>
                  <a:lnTo>
                    <a:pt x="230" y="1844"/>
                  </a:lnTo>
                  <a:lnTo>
                    <a:pt x="249" y="1855"/>
                  </a:lnTo>
                  <a:lnTo>
                    <a:pt x="266" y="1870"/>
                  </a:lnTo>
                  <a:lnTo>
                    <a:pt x="281" y="1887"/>
                  </a:lnTo>
                  <a:lnTo>
                    <a:pt x="306" y="1920"/>
                  </a:lnTo>
                  <a:lnTo>
                    <a:pt x="336" y="1950"/>
                  </a:lnTo>
                  <a:lnTo>
                    <a:pt x="367" y="1976"/>
                  </a:lnTo>
                  <a:lnTo>
                    <a:pt x="402" y="1997"/>
                  </a:lnTo>
                  <a:lnTo>
                    <a:pt x="440" y="2013"/>
                  </a:lnTo>
                  <a:lnTo>
                    <a:pt x="440" y="1372"/>
                  </a:lnTo>
                  <a:lnTo>
                    <a:pt x="383" y="1356"/>
                  </a:lnTo>
                  <a:lnTo>
                    <a:pt x="329" y="1336"/>
                  </a:lnTo>
                  <a:lnTo>
                    <a:pt x="278" y="1310"/>
                  </a:lnTo>
                  <a:lnTo>
                    <a:pt x="230" y="1278"/>
                  </a:lnTo>
                  <a:lnTo>
                    <a:pt x="185" y="1243"/>
                  </a:lnTo>
                  <a:lnTo>
                    <a:pt x="145" y="1203"/>
                  </a:lnTo>
                  <a:lnTo>
                    <a:pt x="109" y="1159"/>
                  </a:lnTo>
                  <a:lnTo>
                    <a:pt x="77" y="1111"/>
                  </a:lnTo>
                  <a:lnTo>
                    <a:pt x="50" y="1061"/>
                  </a:lnTo>
                  <a:lnTo>
                    <a:pt x="29" y="1007"/>
                  </a:lnTo>
                  <a:lnTo>
                    <a:pt x="13" y="951"/>
                  </a:lnTo>
                  <a:lnTo>
                    <a:pt x="4" y="892"/>
                  </a:lnTo>
                  <a:lnTo>
                    <a:pt x="0" y="831"/>
                  </a:lnTo>
                  <a:lnTo>
                    <a:pt x="4" y="771"/>
                  </a:lnTo>
                  <a:lnTo>
                    <a:pt x="13" y="712"/>
                  </a:lnTo>
                  <a:lnTo>
                    <a:pt x="29" y="657"/>
                  </a:lnTo>
                  <a:lnTo>
                    <a:pt x="50" y="603"/>
                  </a:lnTo>
                  <a:lnTo>
                    <a:pt x="77" y="551"/>
                  </a:lnTo>
                  <a:lnTo>
                    <a:pt x="109" y="504"/>
                  </a:lnTo>
                  <a:lnTo>
                    <a:pt x="145" y="460"/>
                  </a:lnTo>
                  <a:lnTo>
                    <a:pt x="185" y="420"/>
                  </a:lnTo>
                  <a:lnTo>
                    <a:pt x="230" y="384"/>
                  </a:lnTo>
                  <a:lnTo>
                    <a:pt x="278" y="353"/>
                  </a:lnTo>
                  <a:lnTo>
                    <a:pt x="329" y="327"/>
                  </a:lnTo>
                  <a:lnTo>
                    <a:pt x="383" y="307"/>
                  </a:lnTo>
                  <a:lnTo>
                    <a:pt x="440" y="291"/>
                  </a:lnTo>
                  <a:lnTo>
                    <a:pt x="440" y="113"/>
                  </a:lnTo>
                  <a:lnTo>
                    <a:pt x="443" y="86"/>
                  </a:lnTo>
                  <a:lnTo>
                    <a:pt x="451" y="63"/>
                  </a:lnTo>
                  <a:lnTo>
                    <a:pt x="464" y="42"/>
                  </a:lnTo>
                  <a:lnTo>
                    <a:pt x="482" y="24"/>
                  </a:lnTo>
                  <a:lnTo>
                    <a:pt x="503" y="11"/>
                  </a:lnTo>
                  <a:lnTo>
                    <a:pt x="527" y="2"/>
                  </a:lnTo>
                  <a:lnTo>
                    <a:pt x="5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31" name="Group 272">
            <a:extLst>
              <a:ext uri="{FF2B5EF4-FFF2-40B4-BE49-F238E27FC236}">
                <a16:creationId xmlns:a16="http://schemas.microsoft.com/office/drawing/2014/main" id="{B196CAA6-0693-413E-9CCC-A3F77660F54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654066" y="4338956"/>
            <a:ext cx="465138" cy="453808"/>
            <a:chOff x="247" y="2734"/>
            <a:chExt cx="1478" cy="1442"/>
          </a:xfrm>
          <a:solidFill>
            <a:schemeClr val="bg1"/>
          </a:solidFill>
        </p:grpSpPr>
        <p:sp>
          <p:nvSpPr>
            <p:cNvPr id="32" name="Freeform 274">
              <a:extLst>
                <a:ext uri="{FF2B5EF4-FFF2-40B4-BE49-F238E27FC236}">
                  <a16:creationId xmlns:a16="http://schemas.microsoft.com/office/drawing/2014/main" id="{5D452258-E50B-4225-A2FF-9A5B77BF2C8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9" y="2734"/>
              <a:ext cx="837" cy="773"/>
            </a:xfrm>
            <a:custGeom>
              <a:avLst/>
              <a:gdLst>
                <a:gd name="T0" fmla="*/ 808 w 2511"/>
                <a:gd name="T1" fmla="*/ 1185 h 2321"/>
                <a:gd name="T2" fmla="*/ 821 w 2511"/>
                <a:gd name="T3" fmla="*/ 1460 h 2321"/>
                <a:gd name="T4" fmla="*/ 831 w 2511"/>
                <a:gd name="T5" fmla="*/ 991 h 2321"/>
                <a:gd name="T6" fmla="*/ 1892 w 2511"/>
                <a:gd name="T7" fmla="*/ 1255 h 2321"/>
                <a:gd name="T8" fmla="*/ 2152 w 2511"/>
                <a:gd name="T9" fmla="*/ 1520 h 2321"/>
                <a:gd name="T10" fmla="*/ 2189 w 2511"/>
                <a:gd name="T11" fmla="*/ 1255 h 2321"/>
                <a:gd name="T12" fmla="*/ 2152 w 2511"/>
                <a:gd name="T13" fmla="*/ 990 h 2321"/>
                <a:gd name="T14" fmla="*/ 1678 w 2511"/>
                <a:gd name="T15" fmla="*/ 1520 h 2321"/>
                <a:gd name="T16" fmla="*/ 1704 w 2511"/>
                <a:gd name="T17" fmla="*/ 1255 h 2321"/>
                <a:gd name="T18" fmla="*/ 1678 w 2511"/>
                <a:gd name="T19" fmla="*/ 990 h 2321"/>
                <a:gd name="T20" fmla="*/ 328 w 2511"/>
                <a:gd name="T21" fmla="*/ 1119 h 2321"/>
                <a:gd name="T22" fmla="*/ 328 w 2511"/>
                <a:gd name="T23" fmla="*/ 1391 h 2321"/>
                <a:gd name="T24" fmla="*/ 627 w 2511"/>
                <a:gd name="T25" fmla="*/ 1437 h 2321"/>
                <a:gd name="T26" fmla="*/ 627 w 2511"/>
                <a:gd name="T27" fmla="*/ 1075 h 2321"/>
                <a:gd name="T28" fmla="*/ 815 w 2511"/>
                <a:gd name="T29" fmla="*/ 430 h 2321"/>
                <a:gd name="T30" fmla="*/ 572 w 2511"/>
                <a:gd name="T31" fmla="*/ 616 h 2321"/>
                <a:gd name="T32" fmla="*/ 683 w 2511"/>
                <a:gd name="T33" fmla="*/ 803 h 2321"/>
                <a:gd name="T34" fmla="*/ 810 w 2511"/>
                <a:gd name="T35" fmla="*/ 512 h 2321"/>
                <a:gd name="T36" fmla="*/ 1664 w 2511"/>
                <a:gd name="T37" fmla="*/ 450 h 2321"/>
                <a:gd name="T38" fmla="*/ 1799 w 2511"/>
                <a:gd name="T39" fmla="*/ 722 h 2321"/>
                <a:gd name="T40" fmla="*/ 1988 w 2511"/>
                <a:gd name="T41" fmla="*/ 674 h 2321"/>
                <a:gd name="T42" fmla="*/ 1762 w 2511"/>
                <a:gd name="T43" fmla="*/ 468 h 2321"/>
                <a:gd name="T44" fmla="*/ 1349 w 2511"/>
                <a:gd name="T45" fmla="*/ 803 h 2321"/>
                <a:gd name="T46" fmla="*/ 1530 w 2511"/>
                <a:gd name="T47" fmla="*/ 597 h 2321"/>
                <a:gd name="T48" fmla="*/ 1384 w 2511"/>
                <a:gd name="T49" fmla="*/ 398 h 2321"/>
                <a:gd name="T50" fmla="*/ 1089 w 2511"/>
                <a:gd name="T51" fmla="*/ 437 h 2321"/>
                <a:gd name="T52" fmla="*/ 944 w 2511"/>
                <a:gd name="T53" fmla="*/ 659 h 2321"/>
                <a:gd name="T54" fmla="*/ 1161 w 2511"/>
                <a:gd name="T55" fmla="*/ 359 h 2321"/>
                <a:gd name="T56" fmla="*/ 1556 w 2511"/>
                <a:gd name="T57" fmla="*/ 36 h 2321"/>
                <a:gd name="T58" fmla="*/ 1916 w 2511"/>
                <a:gd name="T59" fmla="*/ 188 h 2321"/>
                <a:gd name="T60" fmla="*/ 2208 w 2511"/>
                <a:gd name="T61" fmla="*/ 440 h 2321"/>
                <a:gd name="T62" fmla="*/ 2411 w 2511"/>
                <a:gd name="T63" fmla="*/ 768 h 2321"/>
                <a:gd name="T64" fmla="*/ 2505 w 2511"/>
                <a:gd name="T65" fmla="*/ 1153 h 2321"/>
                <a:gd name="T66" fmla="*/ 2474 w 2511"/>
                <a:gd name="T67" fmla="*/ 1554 h 2321"/>
                <a:gd name="T68" fmla="*/ 2326 w 2511"/>
                <a:gd name="T69" fmla="*/ 1909 h 2321"/>
                <a:gd name="T70" fmla="*/ 2082 w 2511"/>
                <a:gd name="T71" fmla="*/ 2200 h 2321"/>
                <a:gd name="T72" fmla="*/ 1906 w 2511"/>
                <a:gd name="T73" fmla="*/ 2218 h 2321"/>
                <a:gd name="T74" fmla="*/ 1820 w 2511"/>
                <a:gd name="T75" fmla="*/ 2076 h 2321"/>
                <a:gd name="T76" fmla="*/ 1889 w 2511"/>
                <a:gd name="T77" fmla="*/ 1943 h 2321"/>
                <a:gd name="T78" fmla="*/ 2072 w 2511"/>
                <a:gd name="T79" fmla="*/ 1709 h 2321"/>
                <a:gd name="T80" fmla="*/ 1740 w 2511"/>
                <a:gd name="T81" fmla="*/ 1925 h 2321"/>
                <a:gd name="T82" fmla="*/ 1612 w 2511"/>
                <a:gd name="T83" fmla="*/ 1908 h 2321"/>
                <a:gd name="T84" fmla="*/ 1582 w 2511"/>
                <a:gd name="T85" fmla="*/ 1822 h 2321"/>
                <a:gd name="T86" fmla="*/ 1349 w 2511"/>
                <a:gd name="T87" fmla="*/ 1807 h 2321"/>
                <a:gd name="T88" fmla="*/ 1186 w 2511"/>
                <a:gd name="T89" fmla="*/ 1805 h 2321"/>
                <a:gd name="T90" fmla="*/ 907 w 2511"/>
                <a:gd name="T91" fmla="*/ 1768 h 2321"/>
                <a:gd name="T92" fmla="*/ 854 w 2511"/>
                <a:gd name="T93" fmla="*/ 1947 h 2321"/>
                <a:gd name="T94" fmla="*/ 710 w 2511"/>
                <a:gd name="T95" fmla="*/ 1785 h 2321"/>
                <a:gd name="T96" fmla="*/ 523 w 2511"/>
                <a:gd name="T97" fmla="*/ 1836 h 2321"/>
                <a:gd name="T98" fmla="*/ 749 w 2511"/>
                <a:gd name="T99" fmla="*/ 2042 h 2321"/>
                <a:gd name="T100" fmla="*/ 611 w 2511"/>
                <a:gd name="T101" fmla="*/ 2260 h 2321"/>
                <a:gd name="T102" fmla="*/ 366 w 2511"/>
                <a:gd name="T103" fmla="*/ 2142 h 2321"/>
                <a:gd name="T104" fmla="*/ 140 w 2511"/>
                <a:gd name="T105" fmla="*/ 1831 h 2321"/>
                <a:gd name="T106" fmla="*/ 17 w 2511"/>
                <a:gd name="T107" fmla="*/ 1458 h 2321"/>
                <a:gd name="T108" fmla="*/ 17 w 2511"/>
                <a:gd name="T109" fmla="*/ 1052 h 2321"/>
                <a:gd name="T110" fmla="*/ 140 w 2511"/>
                <a:gd name="T111" fmla="*/ 679 h 2321"/>
                <a:gd name="T112" fmla="*/ 367 w 2511"/>
                <a:gd name="T113" fmla="*/ 368 h 2321"/>
                <a:gd name="T114" fmla="*/ 679 w 2511"/>
                <a:gd name="T115" fmla="*/ 141 h 2321"/>
                <a:gd name="T116" fmla="*/ 1052 w 2511"/>
                <a:gd name="T117" fmla="*/ 17 h 2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511" h="2321">
                  <a:moveTo>
                    <a:pt x="831" y="991"/>
                  </a:moveTo>
                  <a:lnTo>
                    <a:pt x="821" y="1053"/>
                  </a:lnTo>
                  <a:lnTo>
                    <a:pt x="812" y="1118"/>
                  </a:lnTo>
                  <a:lnTo>
                    <a:pt x="808" y="1185"/>
                  </a:lnTo>
                  <a:lnTo>
                    <a:pt x="806" y="1256"/>
                  </a:lnTo>
                  <a:lnTo>
                    <a:pt x="808" y="1326"/>
                  </a:lnTo>
                  <a:lnTo>
                    <a:pt x="812" y="1394"/>
                  </a:lnTo>
                  <a:lnTo>
                    <a:pt x="821" y="1460"/>
                  </a:lnTo>
                  <a:lnTo>
                    <a:pt x="831" y="1521"/>
                  </a:lnTo>
                  <a:lnTo>
                    <a:pt x="1161" y="1521"/>
                  </a:lnTo>
                  <a:lnTo>
                    <a:pt x="1161" y="991"/>
                  </a:lnTo>
                  <a:lnTo>
                    <a:pt x="831" y="991"/>
                  </a:lnTo>
                  <a:close/>
                  <a:moveTo>
                    <a:pt x="1871" y="990"/>
                  </a:moveTo>
                  <a:lnTo>
                    <a:pt x="1881" y="1075"/>
                  </a:lnTo>
                  <a:lnTo>
                    <a:pt x="1889" y="1162"/>
                  </a:lnTo>
                  <a:lnTo>
                    <a:pt x="1892" y="1255"/>
                  </a:lnTo>
                  <a:lnTo>
                    <a:pt x="1889" y="1348"/>
                  </a:lnTo>
                  <a:lnTo>
                    <a:pt x="1881" y="1435"/>
                  </a:lnTo>
                  <a:lnTo>
                    <a:pt x="1871" y="1520"/>
                  </a:lnTo>
                  <a:lnTo>
                    <a:pt x="2152" y="1520"/>
                  </a:lnTo>
                  <a:lnTo>
                    <a:pt x="2168" y="1457"/>
                  </a:lnTo>
                  <a:lnTo>
                    <a:pt x="2180" y="1391"/>
                  </a:lnTo>
                  <a:lnTo>
                    <a:pt x="2187" y="1324"/>
                  </a:lnTo>
                  <a:lnTo>
                    <a:pt x="2189" y="1255"/>
                  </a:lnTo>
                  <a:lnTo>
                    <a:pt x="2187" y="1186"/>
                  </a:lnTo>
                  <a:lnTo>
                    <a:pt x="2180" y="1119"/>
                  </a:lnTo>
                  <a:lnTo>
                    <a:pt x="2168" y="1055"/>
                  </a:lnTo>
                  <a:lnTo>
                    <a:pt x="2152" y="990"/>
                  </a:lnTo>
                  <a:lnTo>
                    <a:pt x="1871" y="990"/>
                  </a:lnTo>
                  <a:close/>
                  <a:moveTo>
                    <a:pt x="1349" y="990"/>
                  </a:moveTo>
                  <a:lnTo>
                    <a:pt x="1349" y="1520"/>
                  </a:lnTo>
                  <a:lnTo>
                    <a:pt x="1678" y="1520"/>
                  </a:lnTo>
                  <a:lnTo>
                    <a:pt x="1689" y="1458"/>
                  </a:lnTo>
                  <a:lnTo>
                    <a:pt x="1697" y="1394"/>
                  </a:lnTo>
                  <a:lnTo>
                    <a:pt x="1701" y="1325"/>
                  </a:lnTo>
                  <a:lnTo>
                    <a:pt x="1704" y="1255"/>
                  </a:lnTo>
                  <a:lnTo>
                    <a:pt x="1701" y="1185"/>
                  </a:lnTo>
                  <a:lnTo>
                    <a:pt x="1697" y="1118"/>
                  </a:lnTo>
                  <a:lnTo>
                    <a:pt x="1689" y="1052"/>
                  </a:lnTo>
                  <a:lnTo>
                    <a:pt x="1678" y="990"/>
                  </a:lnTo>
                  <a:lnTo>
                    <a:pt x="1349" y="990"/>
                  </a:lnTo>
                  <a:close/>
                  <a:moveTo>
                    <a:pt x="358" y="990"/>
                  </a:moveTo>
                  <a:lnTo>
                    <a:pt x="341" y="1055"/>
                  </a:lnTo>
                  <a:lnTo>
                    <a:pt x="328" y="1119"/>
                  </a:lnTo>
                  <a:lnTo>
                    <a:pt x="322" y="1186"/>
                  </a:lnTo>
                  <a:lnTo>
                    <a:pt x="319" y="1255"/>
                  </a:lnTo>
                  <a:lnTo>
                    <a:pt x="322" y="1324"/>
                  </a:lnTo>
                  <a:lnTo>
                    <a:pt x="328" y="1391"/>
                  </a:lnTo>
                  <a:lnTo>
                    <a:pt x="341" y="1457"/>
                  </a:lnTo>
                  <a:lnTo>
                    <a:pt x="358" y="1520"/>
                  </a:lnTo>
                  <a:lnTo>
                    <a:pt x="639" y="1520"/>
                  </a:lnTo>
                  <a:lnTo>
                    <a:pt x="627" y="1437"/>
                  </a:lnTo>
                  <a:lnTo>
                    <a:pt x="619" y="1348"/>
                  </a:lnTo>
                  <a:lnTo>
                    <a:pt x="616" y="1255"/>
                  </a:lnTo>
                  <a:lnTo>
                    <a:pt x="619" y="1162"/>
                  </a:lnTo>
                  <a:lnTo>
                    <a:pt x="627" y="1075"/>
                  </a:lnTo>
                  <a:lnTo>
                    <a:pt x="639" y="990"/>
                  </a:lnTo>
                  <a:lnTo>
                    <a:pt x="358" y="990"/>
                  </a:lnTo>
                  <a:close/>
                  <a:moveTo>
                    <a:pt x="884" y="397"/>
                  </a:moveTo>
                  <a:lnTo>
                    <a:pt x="815" y="430"/>
                  </a:lnTo>
                  <a:lnTo>
                    <a:pt x="748" y="469"/>
                  </a:lnTo>
                  <a:lnTo>
                    <a:pt x="686" y="514"/>
                  </a:lnTo>
                  <a:lnTo>
                    <a:pt x="627" y="562"/>
                  </a:lnTo>
                  <a:lnTo>
                    <a:pt x="572" y="616"/>
                  </a:lnTo>
                  <a:lnTo>
                    <a:pt x="522" y="675"/>
                  </a:lnTo>
                  <a:lnTo>
                    <a:pt x="476" y="737"/>
                  </a:lnTo>
                  <a:lnTo>
                    <a:pt x="436" y="803"/>
                  </a:lnTo>
                  <a:lnTo>
                    <a:pt x="683" y="803"/>
                  </a:lnTo>
                  <a:lnTo>
                    <a:pt x="710" y="722"/>
                  </a:lnTo>
                  <a:lnTo>
                    <a:pt x="741" y="648"/>
                  </a:lnTo>
                  <a:lnTo>
                    <a:pt x="775" y="577"/>
                  </a:lnTo>
                  <a:lnTo>
                    <a:pt x="810" y="512"/>
                  </a:lnTo>
                  <a:lnTo>
                    <a:pt x="846" y="452"/>
                  </a:lnTo>
                  <a:lnTo>
                    <a:pt x="884" y="397"/>
                  </a:lnTo>
                  <a:close/>
                  <a:moveTo>
                    <a:pt x="1626" y="395"/>
                  </a:moveTo>
                  <a:lnTo>
                    <a:pt x="1664" y="450"/>
                  </a:lnTo>
                  <a:lnTo>
                    <a:pt x="1700" y="511"/>
                  </a:lnTo>
                  <a:lnTo>
                    <a:pt x="1735" y="577"/>
                  </a:lnTo>
                  <a:lnTo>
                    <a:pt x="1768" y="647"/>
                  </a:lnTo>
                  <a:lnTo>
                    <a:pt x="1799" y="722"/>
                  </a:lnTo>
                  <a:lnTo>
                    <a:pt x="1826" y="802"/>
                  </a:lnTo>
                  <a:lnTo>
                    <a:pt x="2074" y="802"/>
                  </a:lnTo>
                  <a:lnTo>
                    <a:pt x="2033" y="736"/>
                  </a:lnTo>
                  <a:lnTo>
                    <a:pt x="1988" y="674"/>
                  </a:lnTo>
                  <a:lnTo>
                    <a:pt x="1938" y="616"/>
                  </a:lnTo>
                  <a:lnTo>
                    <a:pt x="1883" y="562"/>
                  </a:lnTo>
                  <a:lnTo>
                    <a:pt x="1824" y="514"/>
                  </a:lnTo>
                  <a:lnTo>
                    <a:pt x="1762" y="468"/>
                  </a:lnTo>
                  <a:lnTo>
                    <a:pt x="1695" y="429"/>
                  </a:lnTo>
                  <a:lnTo>
                    <a:pt x="1626" y="395"/>
                  </a:lnTo>
                  <a:close/>
                  <a:moveTo>
                    <a:pt x="1349" y="360"/>
                  </a:moveTo>
                  <a:lnTo>
                    <a:pt x="1349" y="803"/>
                  </a:lnTo>
                  <a:lnTo>
                    <a:pt x="1627" y="803"/>
                  </a:lnTo>
                  <a:lnTo>
                    <a:pt x="1598" y="729"/>
                  </a:lnTo>
                  <a:lnTo>
                    <a:pt x="1565" y="660"/>
                  </a:lnTo>
                  <a:lnTo>
                    <a:pt x="1530" y="597"/>
                  </a:lnTo>
                  <a:lnTo>
                    <a:pt x="1494" y="539"/>
                  </a:lnTo>
                  <a:lnTo>
                    <a:pt x="1457" y="487"/>
                  </a:lnTo>
                  <a:lnTo>
                    <a:pt x="1420" y="440"/>
                  </a:lnTo>
                  <a:lnTo>
                    <a:pt x="1384" y="398"/>
                  </a:lnTo>
                  <a:lnTo>
                    <a:pt x="1349" y="360"/>
                  </a:lnTo>
                  <a:close/>
                  <a:moveTo>
                    <a:pt x="1161" y="359"/>
                  </a:moveTo>
                  <a:lnTo>
                    <a:pt x="1126" y="395"/>
                  </a:lnTo>
                  <a:lnTo>
                    <a:pt x="1089" y="437"/>
                  </a:lnTo>
                  <a:lnTo>
                    <a:pt x="1052" y="485"/>
                  </a:lnTo>
                  <a:lnTo>
                    <a:pt x="1016" y="538"/>
                  </a:lnTo>
                  <a:lnTo>
                    <a:pt x="978" y="596"/>
                  </a:lnTo>
                  <a:lnTo>
                    <a:pt x="944" y="659"/>
                  </a:lnTo>
                  <a:lnTo>
                    <a:pt x="911" y="728"/>
                  </a:lnTo>
                  <a:lnTo>
                    <a:pt x="881" y="802"/>
                  </a:lnTo>
                  <a:lnTo>
                    <a:pt x="1161" y="802"/>
                  </a:lnTo>
                  <a:lnTo>
                    <a:pt x="1161" y="359"/>
                  </a:lnTo>
                  <a:close/>
                  <a:moveTo>
                    <a:pt x="1255" y="0"/>
                  </a:moveTo>
                  <a:lnTo>
                    <a:pt x="1358" y="4"/>
                  </a:lnTo>
                  <a:lnTo>
                    <a:pt x="1458" y="17"/>
                  </a:lnTo>
                  <a:lnTo>
                    <a:pt x="1556" y="36"/>
                  </a:lnTo>
                  <a:lnTo>
                    <a:pt x="1651" y="64"/>
                  </a:lnTo>
                  <a:lnTo>
                    <a:pt x="1743" y="99"/>
                  </a:lnTo>
                  <a:lnTo>
                    <a:pt x="1832" y="141"/>
                  </a:lnTo>
                  <a:lnTo>
                    <a:pt x="1916" y="188"/>
                  </a:lnTo>
                  <a:lnTo>
                    <a:pt x="1996" y="243"/>
                  </a:lnTo>
                  <a:lnTo>
                    <a:pt x="2071" y="302"/>
                  </a:lnTo>
                  <a:lnTo>
                    <a:pt x="2142" y="368"/>
                  </a:lnTo>
                  <a:lnTo>
                    <a:pt x="2208" y="440"/>
                  </a:lnTo>
                  <a:lnTo>
                    <a:pt x="2267" y="515"/>
                  </a:lnTo>
                  <a:lnTo>
                    <a:pt x="2322" y="596"/>
                  </a:lnTo>
                  <a:lnTo>
                    <a:pt x="2369" y="679"/>
                  </a:lnTo>
                  <a:lnTo>
                    <a:pt x="2411" y="768"/>
                  </a:lnTo>
                  <a:lnTo>
                    <a:pt x="2446" y="859"/>
                  </a:lnTo>
                  <a:lnTo>
                    <a:pt x="2473" y="955"/>
                  </a:lnTo>
                  <a:lnTo>
                    <a:pt x="2493" y="1053"/>
                  </a:lnTo>
                  <a:lnTo>
                    <a:pt x="2505" y="1153"/>
                  </a:lnTo>
                  <a:lnTo>
                    <a:pt x="2511" y="1256"/>
                  </a:lnTo>
                  <a:lnTo>
                    <a:pt x="2505" y="1357"/>
                  </a:lnTo>
                  <a:lnTo>
                    <a:pt x="2495" y="1457"/>
                  </a:lnTo>
                  <a:lnTo>
                    <a:pt x="2474" y="1554"/>
                  </a:lnTo>
                  <a:lnTo>
                    <a:pt x="2447" y="1647"/>
                  </a:lnTo>
                  <a:lnTo>
                    <a:pt x="2414" y="1738"/>
                  </a:lnTo>
                  <a:lnTo>
                    <a:pt x="2374" y="1826"/>
                  </a:lnTo>
                  <a:lnTo>
                    <a:pt x="2326" y="1909"/>
                  </a:lnTo>
                  <a:lnTo>
                    <a:pt x="2274" y="1988"/>
                  </a:lnTo>
                  <a:lnTo>
                    <a:pt x="2215" y="2064"/>
                  </a:lnTo>
                  <a:lnTo>
                    <a:pt x="2152" y="2134"/>
                  </a:lnTo>
                  <a:lnTo>
                    <a:pt x="2082" y="2200"/>
                  </a:lnTo>
                  <a:lnTo>
                    <a:pt x="2009" y="2259"/>
                  </a:lnTo>
                  <a:lnTo>
                    <a:pt x="1930" y="2314"/>
                  </a:lnTo>
                  <a:lnTo>
                    <a:pt x="1919" y="2264"/>
                  </a:lnTo>
                  <a:lnTo>
                    <a:pt x="1906" y="2218"/>
                  </a:lnTo>
                  <a:lnTo>
                    <a:pt x="1888" y="2175"/>
                  </a:lnTo>
                  <a:lnTo>
                    <a:pt x="1867" y="2136"/>
                  </a:lnTo>
                  <a:lnTo>
                    <a:pt x="1842" y="2101"/>
                  </a:lnTo>
                  <a:lnTo>
                    <a:pt x="1820" y="2076"/>
                  </a:lnTo>
                  <a:lnTo>
                    <a:pt x="1797" y="2053"/>
                  </a:lnTo>
                  <a:lnTo>
                    <a:pt x="1771" y="2034"/>
                  </a:lnTo>
                  <a:lnTo>
                    <a:pt x="1832" y="1990"/>
                  </a:lnTo>
                  <a:lnTo>
                    <a:pt x="1889" y="1943"/>
                  </a:lnTo>
                  <a:lnTo>
                    <a:pt x="1942" y="1890"/>
                  </a:lnTo>
                  <a:lnTo>
                    <a:pt x="1990" y="1834"/>
                  </a:lnTo>
                  <a:lnTo>
                    <a:pt x="2033" y="1773"/>
                  </a:lnTo>
                  <a:lnTo>
                    <a:pt x="2072" y="1709"/>
                  </a:lnTo>
                  <a:lnTo>
                    <a:pt x="1825" y="1709"/>
                  </a:lnTo>
                  <a:lnTo>
                    <a:pt x="1799" y="1785"/>
                  </a:lnTo>
                  <a:lnTo>
                    <a:pt x="1771" y="1857"/>
                  </a:lnTo>
                  <a:lnTo>
                    <a:pt x="1740" y="1925"/>
                  </a:lnTo>
                  <a:lnTo>
                    <a:pt x="1707" y="1987"/>
                  </a:lnTo>
                  <a:lnTo>
                    <a:pt x="1681" y="1961"/>
                  </a:lnTo>
                  <a:lnTo>
                    <a:pt x="1649" y="1935"/>
                  </a:lnTo>
                  <a:lnTo>
                    <a:pt x="1612" y="1908"/>
                  </a:lnTo>
                  <a:lnTo>
                    <a:pt x="1571" y="1881"/>
                  </a:lnTo>
                  <a:lnTo>
                    <a:pt x="1563" y="1877"/>
                  </a:lnTo>
                  <a:lnTo>
                    <a:pt x="1555" y="1873"/>
                  </a:lnTo>
                  <a:lnTo>
                    <a:pt x="1582" y="1822"/>
                  </a:lnTo>
                  <a:lnTo>
                    <a:pt x="1606" y="1768"/>
                  </a:lnTo>
                  <a:lnTo>
                    <a:pt x="1629" y="1710"/>
                  </a:lnTo>
                  <a:lnTo>
                    <a:pt x="1349" y="1710"/>
                  </a:lnTo>
                  <a:lnTo>
                    <a:pt x="1349" y="1807"/>
                  </a:lnTo>
                  <a:lnTo>
                    <a:pt x="1309" y="1803"/>
                  </a:lnTo>
                  <a:lnTo>
                    <a:pt x="1267" y="1801"/>
                  </a:lnTo>
                  <a:lnTo>
                    <a:pt x="1210" y="1804"/>
                  </a:lnTo>
                  <a:lnTo>
                    <a:pt x="1186" y="1805"/>
                  </a:lnTo>
                  <a:lnTo>
                    <a:pt x="1161" y="1808"/>
                  </a:lnTo>
                  <a:lnTo>
                    <a:pt x="1161" y="1709"/>
                  </a:lnTo>
                  <a:lnTo>
                    <a:pt x="882" y="1709"/>
                  </a:lnTo>
                  <a:lnTo>
                    <a:pt x="907" y="1768"/>
                  </a:lnTo>
                  <a:lnTo>
                    <a:pt x="932" y="1824"/>
                  </a:lnTo>
                  <a:lnTo>
                    <a:pt x="959" y="1877"/>
                  </a:lnTo>
                  <a:lnTo>
                    <a:pt x="907" y="1910"/>
                  </a:lnTo>
                  <a:lnTo>
                    <a:pt x="854" y="1947"/>
                  </a:lnTo>
                  <a:lnTo>
                    <a:pt x="804" y="1988"/>
                  </a:lnTo>
                  <a:lnTo>
                    <a:pt x="771" y="1925"/>
                  </a:lnTo>
                  <a:lnTo>
                    <a:pt x="740" y="1858"/>
                  </a:lnTo>
                  <a:lnTo>
                    <a:pt x="710" y="1785"/>
                  </a:lnTo>
                  <a:lnTo>
                    <a:pt x="685" y="1709"/>
                  </a:lnTo>
                  <a:lnTo>
                    <a:pt x="437" y="1709"/>
                  </a:lnTo>
                  <a:lnTo>
                    <a:pt x="478" y="1774"/>
                  </a:lnTo>
                  <a:lnTo>
                    <a:pt x="523" y="1836"/>
                  </a:lnTo>
                  <a:lnTo>
                    <a:pt x="573" y="1894"/>
                  </a:lnTo>
                  <a:lnTo>
                    <a:pt x="628" y="1948"/>
                  </a:lnTo>
                  <a:lnTo>
                    <a:pt x="687" y="1998"/>
                  </a:lnTo>
                  <a:lnTo>
                    <a:pt x="749" y="2042"/>
                  </a:lnTo>
                  <a:lnTo>
                    <a:pt x="706" y="2093"/>
                  </a:lnTo>
                  <a:lnTo>
                    <a:pt x="669" y="2147"/>
                  </a:lnTo>
                  <a:lnTo>
                    <a:pt x="636" y="2202"/>
                  </a:lnTo>
                  <a:lnTo>
                    <a:pt x="611" y="2260"/>
                  </a:lnTo>
                  <a:lnTo>
                    <a:pt x="592" y="2321"/>
                  </a:lnTo>
                  <a:lnTo>
                    <a:pt x="513" y="2267"/>
                  </a:lnTo>
                  <a:lnTo>
                    <a:pt x="437" y="2206"/>
                  </a:lnTo>
                  <a:lnTo>
                    <a:pt x="366" y="2142"/>
                  </a:lnTo>
                  <a:lnTo>
                    <a:pt x="302" y="2070"/>
                  </a:lnTo>
                  <a:lnTo>
                    <a:pt x="241" y="1995"/>
                  </a:lnTo>
                  <a:lnTo>
                    <a:pt x="187" y="1916"/>
                  </a:lnTo>
                  <a:lnTo>
                    <a:pt x="140" y="1831"/>
                  </a:lnTo>
                  <a:lnTo>
                    <a:pt x="99" y="1744"/>
                  </a:lnTo>
                  <a:lnTo>
                    <a:pt x="64" y="1651"/>
                  </a:lnTo>
                  <a:lnTo>
                    <a:pt x="37" y="1556"/>
                  </a:lnTo>
                  <a:lnTo>
                    <a:pt x="17" y="1458"/>
                  </a:lnTo>
                  <a:lnTo>
                    <a:pt x="4" y="1359"/>
                  </a:lnTo>
                  <a:lnTo>
                    <a:pt x="0" y="1256"/>
                  </a:lnTo>
                  <a:lnTo>
                    <a:pt x="4" y="1153"/>
                  </a:lnTo>
                  <a:lnTo>
                    <a:pt x="17" y="1052"/>
                  </a:lnTo>
                  <a:lnTo>
                    <a:pt x="37" y="955"/>
                  </a:lnTo>
                  <a:lnTo>
                    <a:pt x="64" y="859"/>
                  </a:lnTo>
                  <a:lnTo>
                    <a:pt x="99" y="768"/>
                  </a:lnTo>
                  <a:lnTo>
                    <a:pt x="140" y="679"/>
                  </a:lnTo>
                  <a:lnTo>
                    <a:pt x="189" y="594"/>
                  </a:lnTo>
                  <a:lnTo>
                    <a:pt x="242" y="515"/>
                  </a:lnTo>
                  <a:lnTo>
                    <a:pt x="303" y="438"/>
                  </a:lnTo>
                  <a:lnTo>
                    <a:pt x="367" y="368"/>
                  </a:lnTo>
                  <a:lnTo>
                    <a:pt x="439" y="302"/>
                  </a:lnTo>
                  <a:lnTo>
                    <a:pt x="514" y="243"/>
                  </a:lnTo>
                  <a:lnTo>
                    <a:pt x="595" y="188"/>
                  </a:lnTo>
                  <a:lnTo>
                    <a:pt x="679" y="141"/>
                  </a:lnTo>
                  <a:lnTo>
                    <a:pt x="767" y="99"/>
                  </a:lnTo>
                  <a:lnTo>
                    <a:pt x="858" y="64"/>
                  </a:lnTo>
                  <a:lnTo>
                    <a:pt x="954" y="36"/>
                  </a:lnTo>
                  <a:lnTo>
                    <a:pt x="1052" y="17"/>
                  </a:lnTo>
                  <a:lnTo>
                    <a:pt x="1153" y="4"/>
                  </a:lnTo>
                  <a:lnTo>
                    <a:pt x="125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275">
              <a:extLst>
                <a:ext uri="{FF2B5EF4-FFF2-40B4-BE49-F238E27FC236}">
                  <a16:creationId xmlns:a16="http://schemas.microsoft.com/office/drawing/2014/main" id="{01936B96-9ACA-4FBA-8AF0-8C0B43431E90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" y="3862"/>
              <a:ext cx="1478" cy="314"/>
            </a:xfrm>
            <a:custGeom>
              <a:avLst/>
              <a:gdLst>
                <a:gd name="T0" fmla="*/ 2165 w 4433"/>
                <a:gd name="T1" fmla="*/ 446 h 941"/>
                <a:gd name="T2" fmla="*/ 2091 w 4433"/>
                <a:gd name="T3" fmla="*/ 310 h 941"/>
                <a:gd name="T4" fmla="*/ 2087 w 4433"/>
                <a:gd name="T5" fmla="*/ 225 h 941"/>
                <a:gd name="T6" fmla="*/ 2126 w 4433"/>
                <a:gd name="T7" fmla="*/ 179 h 941"/>
                <a:gd name="T8" fmla="*/ 2178 w 4433"/>
                <a:gd name="T9" fmla="*/ 161 h 941"/>
                <a:gd name="T10" fmla="*/ 2216 w 4433"/>
                <a:gd name="T11" fmla="*/ 158 h 941"/>
                <a:gd name="T12" fmla="*/ 2247 w 4433"/>
                <a:gd name="T13" fmla="*/ 159 h 941"/>
                <a:gd name="T14" fmla="*/ 2298 w 4433"/>
                <a:gd name="T15" fmla="*/ 173 h 941"/>
                <a:gd name="T16" fmla="*/ 2342 w 4433"/>
                <a:gd name="T17" fmla="*/ 210 h 941"/>
                <a:gd name="T18" fmla="*/ 2352 w 4433"/>
                <a:gd name="T19" fmla="*/ 284 h 941"/>
                <a:gd name="T20" fmla="*/ 2298 w 4433"/>
                <a:gd name="T21" fmla="*/ 407 h 941"/>
                <a:gd name="T22" fmla="*/ 2576 w 4433"/>
                <a:gd name="T23" fmla="*/ 0 h 941"/>
                <a:gd name="T24" fmla="*/ 2623 w 4433"/>
                <a:gd name="T25" fmla="*/ 29 h 941"/>
                <a:gd name="T26" fmla="*/ 2760 w 4433"/>
                <a:gd name="T27" fmla="*/ 101 h 941"/>
                <a:gd name="T28" fmla="*/ 2973 w 4433"/>
                <a:gd name="T29" fmla="*/ 193 h 941"/>
                <a:gd name="T30" fmla="*/ 3126 w 4433"/>
                <a:gd name="T31" fmla="*/ 235 h 941"/>
                <a:gd name="T32" fmla="*/ 3240 w 4433"/>
                <a:gd name="T33" fmla="*/ 175 h 941"/>
                <a:gd name="T34" fmla="*/ 3281 w 4433"/>
                <a:gd name="T35" fmla="*/ 151 h 941"/>
                <a:gd name="T36" fmla="*/ 3512 w 4433"/>
                <a:gd name="T37" fmla="*/ 489 h 941"/>
                <a:gd name="T38" fmla="*/ 3468 w 4433"/>
                <a:gd name="T39" fmla="*/ 379 h 941"/>
                <a:gd name="T40" fmla="*/ 3484 w 4433"/>
                <a:gd name="T41" fmla="*/ 317 h 941"/>
                <a:gd name="T42" fmla="*/ 3531 w 4433"/>
                <a:gd name="T43" fmla="*/ 290 h 941"/>
                <a:gd name="T44" fmla="*/ 3574 w 4433"/>
                <a:gd name="T45" fmla="*/ 283 h 941"/>
                <a:gd name="T46" fmla="*/ 3598 w 4433"/>
                <a:gd name="T47" fmla="*/ 283 h 941"/>
                <a:gd name="T48" fmla="*/ 3645 w 4433"/>
                <a:gd name="T49" fmla="*/ 294 h 941"/>
                <a:gd name="T50" fmla="*/ 3687 w 4433"/>
                <a:gd name="T51" fmla="*/ 329 h 941"/>
                <a:gd name="T52" fmla="*/ 3692 w 4433"/>
                <a:gd name="T53" fmla="*/ 401 h 941"/>
                <a:gd name="T54" fmla="*/ 3628 w 4433"/>
                <a:gd name="T55" fmla="*/ 525 h 941"/>
                <a:gd name="T56" fmla="*/ 3884 w 4433"/>
                <a:gd name="T57" fmla="*/ 152 h 941"/>
                <a:gd name="T58" fmla="*/ 3956 w 4433"/>
                <a:gd name="T59" fmla="*/ 193 h 941"/>
                <a:gd name="T60" fmla="*/ 4110 w 4433"/>
                <a:gd name="T61" fmla="*/ 268 h 941"/>
                <a:gd name="T62" fmla="*/ 4300 w 4433"/>
                <a:gd name="T63" fmla="*/ 354 h 941"/>
                <a:gd name="T64" fmla="*/ 4398 w 4433"/>
                <a:gd name="T65" fmla="*/ 482 h 941"/>
                <a:gd name="T66" fmla="*/ 4429 w 4433"/>
                <a:gd name="T67" fmla="*/ 676 h 941"/>
                <a:gd name="T68" fmla="*/ 4433 w 4433"/>
                <a:gd name="T69" fmla="*/ 941 h 941"/>
                <a:gd name="T70" fmla="*/ 3 w 4433"/>
                <a:gd name="T71" fmla="*/ 735 h 941"/>
                <a:gd name="T72" fmla="*/ 26 w 4433"/>
                <a:gd name="T73" fmla="*/ 525 h 941"/>
                <a:gd name="T74" fmla="*/ 104 w 4433"/>
                <a:gd name="T75" fmla="*/ 381 h 941"/>
                <a:gd name="T76" fmla="*/ 276 w 4433"/>
                <a:gd name="T77" fmla="*/ 291 h 941"/>
                <a:gd name="T78" fmla="*/ 449 w 4433"/>
                <a:gd name="T79" fmla="*/ 210 h 941"/>
                <a:gd name="T80" fmla="*/ 542 w 4433"/>
                <a:gd name="T81" fmla="*/ 158 h 941"/>
                <a:gd name="T82" fmla="*/ 737 w 4433"/>
                <a:gd name="T83" fmla="*/ 730 h 941"/>
                <a:gd name="T84" fmla="*/ 753 w 4433"/>
                <a:gd name="T85" fmla="*/ 427 h 941"/>
                <a:gd name="T86" fmla="*/ 744 w 4433"/>
                <a:gd name="T87" fmla="*/ 344 h 941"/>
                <a:gd name="T88" fmla="*/ 778 w 4433"/>
                <a:gd name="T89" fmla="*/ 301 h 941"/>
                <a:gd name="T90" fmla="*/ 827 w 4433"/>
                <a:gd name="T91" fmla="*/ 284 h 941"/>
                <a:gd name="T92" fmla="*/ 856 w 4433"/>
                <a:gd name="T93" fmla="*/ 283 h 941"/>
                <a:gd name="T94" fmla="*/ 894 w 4433"/>
                <a:gd name="T95" fmla="*/ 287 h 941"/>
                <a:gd name="T96" fmla="*/ 943 w 4433"/>
                <a:gd name="T97" fmla="*/ 307 h 941"/>
                <a:gd name="T98" fmla="*/ 969 w 4433"/>
                <a:gd name="T99" fmla="*/ 360 h 941"/>
                <a:gd name="T100" fmla="*/ 944 w 4433"/>
                <a:gd name="T101" fmla="*/ 457 h 941"/>
                <a:gd name="T102" fmla="*/ 994 w 4433"/>
                <a:gd name="T103" fmla="*/ 661 h 941"/>
                <a:gd name="T104" fmla="*/ 1178 w 4433"/>
                <a:gd name="T105" fmla="*/ 165 h 941"/>
                <a:gd name="T106" fmla="*/ 1275 w 4433"/>
                <a:gd name="T107" fmla="*/ 218 h 941"/>
                <a:gd name="T108" fmla="*/ 1420 w 4433"/>
                <a:gd name="T109" fmla="*/ 210 h 941"/>
                <a:gd name="T110" fmla="*/ 1630 w 4433"/>
                <a:gd name="T111" fmla="*/ 123 h 941"/>
                <a:gd name="T112" fmla="*/ 1786 w 4433"/>
                <a:gd name="T113" fmla="*/ 44 h 941"/>
                <a:gd name="T114" fmla="*/ 1857 w 4433"/>
                <a:gd name="T115" fmla="*/ 3 h 9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433" h="941">
                  <a:moveTo>
                    <a:pt x="1861" y="0"/>
                  </a:moveTo>
                  <a:lnTo>
                    <a:pt x="2052" y="607"/>
                  </a:lnTo>
                  <a:lnTo>
                    <a:pt x="2079" y="689"/>
                  </a:lnTo>
                  <a:lnTo>
                    <a:pt x="2165" y="446"/>
                  </a:lnTo>
                  <a:lnTo>
                    <a:pt x="2138" y="407"/>
                  </a:lnTo>
                  <a:lnTo>
                    <a:pt x="2116" y="370"/>
                  </a:lnTo>
                  <a:lnTo>
                    <a:pt x="2102" y="340"/>
                  </a:lnTo>
                  <a:lnTo>
                    <a:pt x="2091" y="310"/>
                  </a:lnTo>
                  <a:lnTo>
                    <a:pt x="2084" y="284"/>
                  </a:lnTo>
                  <a:lnTo>
                    <a:pt x="2081" y="263"/>
                  </a:lnTo>
                  <a:lnTo>
                    <a:pt x="2083" y="243"/>
                  </a:lnTo>
                  <a:lnTo>
                    <a:pt x="2087" y="225"/>
                  </a:lnTo>
                  <a:lnTo>
                    <a:pt x="2093" y="210"/>
                  </a:lnTo>
                  <a:lnTo>
                    <a:pt x="2103" y="198"/>
                  </a:lnTo>
                  <a:lnTo>
                    <a:pt x="2114" y="187"/>
                  </a:lnTo>
                  <a:lnTo>
                    <a:pt x="2126" y="179"/>
                  </a:lnTo>
                  <a:lnTo>
                    <a:pt x="2138" y="173"/>
                  </a:lnTo>
                  <a:lnTo>
                    <a:pt x="2151" y="167"/>
                  </a:lnTo>
                  <a:lnTo>
                    <a:pt x="2165" y="163"/>
                  </a:lnTo>
                  <a:lnTo>
                    <a:pt x="2178" y="161"/>
                  </a:lnTo>
                  <a:lnTo>
                    <a:pt x="2190" y="159"/>
                  </a:lnTo>
                  <a:lnTo>
                    <a:pt x="2201" y="158"/>
                  </a:lnTo>
                  <a:lnTo>
                    <a:pt x="2209" y="158"/>
                  </a:lnTo>
                  <a:lnTo>
                    <a:pt x="2216" y="158"/>
                  </a:lnTo>
                  <a:lnTo>
                    <a:pt x="2220" y="158"/>
                  </a:lnTo>
                  <a:lnTo>
                    <a:pt x="2227" y="158"/>
                  </a:lnTo>
                  <a:lnTo>
                    <a:pt x="2236" y="158"/>
                  </a:lnTo>
                  <a:lnTo>
                    <a:pt x="2247" y="159"/>
                  </a:lnTo>
                  <a:lnTo>
                    <a:pt x="2259" y="161"/>
                  </a:lnTo>
                  <a:lnTo>
                    <a:pt x="2271" y="163"/>
                  </a:lnTo>
                  <a:lnTo>
                    <a:pt x="2284" y="167"/>
                  </a:lnTo>
                  <a:lnTo>
                    <a:pt x="2298" y="173"/>
                  </a:lnTo>
                  <a:lnTo>
                    <a:pt x="2311" y="179"/>
                  </a:lnTo>
                  <a:lnTo>
                    <a:pt x="2323" y="187"/>
                  </a:lnTo>
                  <a:lnTo>
                    <a:pt x="2334" y="198"/>
                  </a:lnTo>
                  <a:lnTo>
                    <a:pt x="2342" y="210"/>
                  </a:lnTo>
                  <a:lnTo>
                    <a:pt x="2349" y="225"/>
                  </a:lnTo>
                  <a:lnTo>
                    <a:pt x="2354" y="243"/>
                  </a:lnTo>
                  <a:lnTo>
                    <a:pt x="2354" y="263"/>
                  </a:lnTo>
                  <a:lnTo>
                    <a:pt x="2352" y="284"/>
                  </a:lnTo>
                  <a:lnTo>
                    <a:pt x="2346" y="310"/>
                  </a:lnTo>
                  <a:lnTo>
                    <a:pt x="2335" y="340"/>
                  </a:lnTo>
                  <a:lnTo>
                    <a:pt x="2319" y="370"/>
                  </a:lnTo>
                  <a:lnTo>
                    <a:pt x="2298" y="407"/>
                  </a:lnTo>
                  <a:lnTo>
                    <a:pt x="2272" y="446"/>
                  </a:lnTo>
                  <a:lnTo>
                    <a:pt x="2357" y="689"/>
                  </a:lnTo>
                  <a:lnTo>
                    <a:pt x="2384" y="607"/>
                  </a:lnTo>
                  <a:lnTo>
                    <a:pt x="2576" y="0"/>
                  </a:lnTo>
                  <a:lnTo>
                    <a:pt x="2579" y="3"/>
                  </a:lnTo>
                  <a:lnTo>
                    <a:pt x="2588" y="9"/>
                  </a:lnTo>
                  <a:lnTo>
                    <a:pt x="2603" y="18"/>
                  </a:lnTo>
                  <a:lnTo>
                    <a:pt x="2623" y="29"/>
                  </a:lnTo>
                  <a:lnTo>
                    <a:pt x="2650" y="44"/>
                  </a:lnTo>
                  <a:lnTo>
                    <a:pt x="2681" y="61"/>
                  </a:lnTo>
                  <a:lnTo>
                    <a:pt x="2719" y="80"/>
                  </a:lnTo>
                  <a:lnTo>
                    <a:pt x="2760" y="101"/>
                  </a:lnTo>
                  <a:lnTo>
                    <a:pt x="2806" y="123"/>
                  </a:lnTo>
                  <a:lnTo>
                    <a:pt x="2857" y="146"/>
                  </a:lnTo>
                  <a:lnTo>
                    <a:pt x="2914" y="169"/>
                  </a:lnTo>
                  <a:lnTo>
                    <a:pt x="2973" y="193"/>
                  </a:lnTo>
                  <a:lnTo>
                    <a:pt x="3016" y="212"/>
                  </a:lnTo>
                  <a:lnTo>
                    <a:pt x="3053" y="232"/>
                  </a:lnTo>
                  <a:lnTo>
                    <a:pt x="3087" y="253"/>
                  </a:lnTo>
                  <a:lnTo>
                    <a:pt x="3126" y="235"/>
                  </a:lnTo>
                  <a:lnTo>
                    <a:pt x="3161" y="217"/>
                  </a:lnTo>
                  <a:lnTo>
                    <a:pt x="3192" y="202"/>
                  </a:lnTo>
                  <a:lnTo>
                    <a:pt x="3219" y="187"/>
                  </a:lnTo>
                  <a:lnTo>
                    <a:pt x="3240" y="175"/>
                  </a:lnTo>
                  <a:lnTo>
                    <a:pt x="3258" y="165"/>
                  </a:lnTo>
                  <a:lnTo>
                    <a:pt x="3271" y="158"/>
                  </a:lnTo>
                  <a:lnTo>
                    <a:pt x="3278" y="152"/>
                  </a:lnTo>
                  <a:lnTo>
                    <a:pt x="3281" y="151"/>
                  </a:lnTo>
                  <a:lnTo>
                    <a:pt x="3442" y="661"/>
                  </a:lnTo>
                  <a:lnTo>
                    <a:pt x="3464" y="730"/>
                  </a:lnTo>
                  <a:lnTo>
                    <a:pt x="3536" y="525"/>
                  </a:lnTo>
                  <a:lnTo>
                    <a:pt x="3512" y="489"/>
                  </a:lnTo>
                  <a:lnTo>
                    <a:pt x="3493" y="457"/>
                  </a:lnTo>
                  <a:lnTo>
                    <a:pt x="3480" y="427"/>
                  </a:lnTo>
                  <a:lnTo>
                    <a:pt x="3472" y="401"/>
                  </a:lnTo>
                  <a:lnTo>
                    <a:pt x="3468" y="379"/>
                  </a:lnTo>
                  <a:lnTo>
                    <a:pt x="3466" y="360"/>
                  </a:lnTo>
                  <a:lnTo>
                    <a:pt x="3470" y="344"/>
                  </a:lnTo>
                  <a:lnTo>
                    <a:pt x="3476" y="329"/>
                  </a:lnTo>
                  <a:lnTo>
                    <a:pt x="3484" y="317"/>
                  </a:lnTo>
                  <a:lnTo>
                    <a:pt x="3494" y="307"/>
                  </a:lnTo>
                  <a:lnTo>
                    <a:pt x="3505" y="301"/>
                  </a:lnTo>
                  <a:lnTo>
                    <a:pt x="3517" y="294"/>
                  </a:lnTo>
                  <a:lnTo>
                    <a:pt x="3531" y="290"/>
                  </a:lnTo>
                  <a:lnTo>
                    <a:pt x="3543" y="287"/>
                  </a:lnTo>
                  <a:lnTo>
                    <a:pt x="3554" y="284"/>
                  </a:lnTo>
                  <a:lnTo>
                    <a:pt x="3564" y="283"/>
                  </a:lnTo>
                  <a:lnTo>
                    <a:pt x="3574" y="283"/>
                  </a:lnTo>
                  <a:lnTo>
                    <a:pt x="3579" y="283"/>
                  </a:lnTo>
                  <a:lnTo>
                    <a:pt x="3583" y="283"/>
                  </a:lnTo>
                  <a:lnTo>
                    <a:pt x="3590" y="283"/>
                  </a:lnTo>
                  <a:lnTo>
                    <a:pt x="3598" y="283"/>
                  </a:lnTo>
                  <a:lnTo>
                    <a:pt x="3609" y="284"/>
                  </a:lnTo>
                  <a:lnTo>
                    <a:pt x="3621" y="287"/>
                  </a:lnTo>
                  <a:lnTo>
                    <a:pt x="3633" y="290"/>
                  </a:lnTo>
                  <a:lnTo>
                    <a:pt x="3645" y="294"/>
                  </a:lnTo>
                  <a:lnTo>
                    <a:pt x="3657" y="301"/>
                  </a:lnTo>
                  <a:lnTo>
                    <a:pt x="3669" y="307"/>
                  </a:lnTo>
                  <a:lnTo>
                    <a:pt x="3679" y="317"/>
                  </a:lnTo>
                  <a:lnTo>
                    <a:pt x="3687" y="329"/>
                  </a:lnTo>
                  <a:lnTo>
                    <a:pt x="3693" y="344"/>
                  </a:lnTo>
                  <a:lnTo>
                    <a:pt x="3696" y="360"/>
                  </a:lnTo>
                  <a:lnTo>
                    <a:pt x="3696" y="379"/>
                  </a:lnTo>
                  <a:lnTo>
                    <a:pt x="3692" y="401"/>
                  </a:lnTo>
                  <a:lnTo>
                    <a:pt x="3684" y="427"/>
                  </a:lnTo>
                  <a:lnTo>
                    <a:pt x="3671" y="457"/>
                  </a:lnTo>
                  <a:lnTo>
                    <a:pt x="3652" y="489"/>
                  </a:lnTo>
                  <a:lnTo>
                    <a:pt x="3628" y="525"/>
                  </a:lnTo>
                  <a:lnTo>
                    <a:pt x="3699" y="730"/>
                  </a:lnTo>
                  <a:lnTo>
                    <a:pt x="3720" y="661"/>
                  </a:lnTo>
                  <a:lnTo>
                    <a:pt x="3882" y="151"/>
                  </a:lnTo>
                  <a:lnTo>
                    <a:pt x="3884" y="152"/>
                  </a:lnTo>
                  <a:lnTo>
                    <a:pt x="3894" y="158"/>
                  </a:lnTo>
                  <a:lnTo>
                    <a:pt x="3909" y="167"/>
                  </a:lnTo>
                  <a:lnTo>
                    <a:pt x="3929" y="179"/>
                  </a:lnTo>
                  <a:lnTo>
                    <a:pt x="3956" y="193"/>
                  </a:lnTo>
                  <a:lnTo>
                    <a:pt x="3987" y="210"/>
                  </a:lnTo>
                  <a:lnTo>
                    <a:pt x="4023" y="228"/>
                  </a:lnTo>
                  <a:lnTo>
                    <a:pt x="4065" y="248"/>
                  </a:lnTo>
                  <a:lnTo>
                    <a:pt x="4110" y="268"/>
                  </a:lnTo>
                  <a:lnTo>
                    <a:pt x="4161" y="290"/>
                  </a:lnTo>
                  <a:lnTo>
                    <a:pt x="4215" y="313"/>
                  </a:lnTo>
                  <a:lnTo>
                    <a:pt x="4261" y="331"/>
                  </a:lnTo>
                  <a:lnTo>
                    <a:pt x="4300" y="354"/>
                  </a:lnTo>
                  <a:lnTo>
                    <a:pt x="4332" y="381"/>
                  </a:lnTo>
                  <a:lnTo>
                    <a:pt x="4359" y="411"/>
                  </a:lnTo>
                  <a:lnTo>
                    <a:pt x="4381" y="444"/>
                  </a:lnTo>
                  <a:lnTo>
                    <a:pt x="4398" y="482"/>
                  </a:lnTo>
                  <a:lnTo>
                    <a:pt x="4410" y="525"/>
                  </a:lnTo>
                  <a:lnTo>
                    <a:pt x="4420" y="571"/>
                  </a:lnTo>
                  <a:lnTo>
                    <a:pt x="4425" y="621"/>
                  </a:lnTo>
                  <a:lnTo>
                    <a:pt x="4429" y="676"/>
                  </a:lnTo>
                  <a:lnTo>
                    <a:pt x="4432" y="735"/>
                  </a:lnTo>
                  <a:lnTo>
                    <a:pt x="4432" y="798"/>
                  </a:lnTo>
                  <a:lnTo>
                    <a:pt x="4433" y="867"/>
                  </a:lnTo>
                  <a:lnTo>
                    <a:pt x="4433" y="941"/>
                  </a:lnTo>
                  <a:lnTo>
                    <a:pt x="0" y="941"/>
                  </a:lnTo>
                  <a:lnTo>
                    <a:pt x="1" y="867"/>
                  </a:lnTo>
                  <a:lnTo>
                    <a:pt x="1" y="798"/>
                  </a:lnTo>
                  <a:lnTo>
                    <a:pt x="3" y="735"/>
                  </a:lnTo>
                  <a:lnTo>
                    <a:pt x="5" y="676"/>
                  </a:lnTo>
                  <a:lnTo>
                    <a:pt x="9" y="621"/>
                  </a:lnTo>
                  <a:lnTo>
                    <a:pt x="16" y="571"/>
                  </a:lnTo>
                  <a:lnTo>
                    <a:pt x="26" y="525"/>
                  </a:lnTo>
                  <a:lnTo>
                    <a:pt x="39" y="482"/>
                  </a:lnTo>
                  <a:lnTo>
                    <a:pt x="55" y="444"/>
                  </a:lnTo>
                  <a:lnTo>
                    <a:pt x="77" y="411"/>
                  </a:lnTo>
                  <a:lnTo>
                    <a:pt x="104" y="381"/>
                  </a:lnTo>
                  <a:lnTo>
                    <a:pt x="136" y="354"/>
                  </a:lnTo>
                  <a:lnTo>
                    <a:pt x="175" y="331"/>
                  </a:lnTo>
                  <a:lnTo>
                    <a:pt x="221" y="313"/>
                  </a:lnTo>
                  <a:lnTo>
                    <a:pt x="276" y="291"/>
                  </a:lnTo>
                  <a:lnTo>
                    <a:pt x="325" y="270"/>
                  </a:lnTo>
                  <a:lnTo>
                    <a:pt x="371" y="248"/>
                  </a:lnTo>
                  <a:lnTo>
                    <a:pt x="413" y="229"/>
                  </a:lnTo>
                  <a:lnTo>
                    <a:pt x="449" y="210"/>
                  </a:lnTo>
                  <a:lnTo>
                    <a:pt x="480" y="194"/>
                  </a:lnTo>
                  <a:lnTo>
                    <a:pt x="507" y="179"/>
                  </a:lnTo>
                  <a:lnTo>
                    <a:pt x="527" y="167"/>
                  </a:lnTo>
                  <a:lnTo>
                    <a:pt x="542" y="158"/>
                  </a:lnTo>
                  <a:lnTo>
                    <a:pt x="551" y="152"/>
                  </a:lnTo>
                  <a:lnTo>
                    <a:pt x="554" y="151"/>
                  </a:lnTo>
                  <a:lnTo>
                    <a:pt x="715" y="661"/>
                  </a:lnTo>
                  <a:lnTo>
                    <a:pt x="737" y="730"/>
                  </a:lnTo>
                  <a:lnTo>
                    <a:pt x="809" y="525"/>
                  </a:lnTo>
                  <a:lnTo>
                    <a:pt x="785" y="489"/>
                  </a:lnTo>
                  <a:lnTo>
                    <a:pt x="766" y="457"/>
                  </a:lnTo>
                  <a:lnTo>
                    <a:pt x="753" y="427"/>
                  </a:lnTo>
                  <a:lnTo>
                    <a:pt x="745" y="401"/>
                  </a:lnTo>
                  <a:lnTo>
                    <a:pt x="741" y="379"/>
                  </a:lnTo>
                  <a:lnTo>
                    <a:pt x="740" y="360"/>
                  </a:lnTo>
                  <a:lnTo>
                    <a:pt x="744" y="344"/>
                  </a:lnTo>
                  <a:lnTo>
                    <a:pt x="749" y="329"/>
                  </a:lnTo>
                  <a:lnTo>
                    <a:pt x="757" y="317"/>
                  </a:lnTo>
                  <a:lnTo>
                    <a:pt x="768" y="307"/>
                  </a:lnTo>
                  <a:lnTo>
                    <a:pt x="778" y="301"/>
                  </a:lnTo>
                  <a:lnTo>
                    <a:pt x="791" y="294"/>
                  </a:lnTo>
                  <a:lnTo>
                    <a:pt x="804" y="290"/>
                  </a:lnTo>
                  <a:lnTo>
                    <a:pt x="816" y="287"/>
                  </a:lnTo>
                  <a:lnTo>
                    <a:pt x="827" y="284"/>
                  </a:lnTo>
                  <a:lnTo>
                    <a:pt x="838" y="283"/>
                  </a:lnTo>
                  <a:lnTo>
                    <a:pt x="846" y="283"/>
                  </a:lnTo>
                  <a:lnTo>
                    <a:pt x="852" y="283"/>
                  </a:lnTo>
                  <a:lnTo>
                    <a:pt x="856" y="283"/>
                  </a:lnTo>
                  <a:lnTo>
                    <a:pt x="863" y="283"/>
                  </a:lnTo>
                  <a:lnTo>
                    <a:pt x="871" y="283"/>
                  </a:lnTo>
                  <a:lnTo>
                    <a:pt x="882" y="284"/>
                  </a:lnTo>
                  <a:lnTo>
                    <a:pt x="894" y="287"/>
                  </a:lnTo>
                  <a:lnTo>
                    <a:pt x="906" y="290"/>
                  </a:lnTo>
                  <a:lnTo>
                    <a:pt x="918" y="294"/>
                  </a:lnTo>
                  <a:lnTo>
                    <a:pt x="930" y="301"/>
                  </a:lnTo>
                  <a:lnTo>
                    <a:pt x="943" y="307"/>
                  </a:lnTo>
                  <a:lnTo>
                    <a:pt x="952" y="317"/>
                  </a:lnTo>
                  <a:lnTo>
                    <a:pt x="960" y="329"/>
                  </a:lnTo>
                  <a:lnTo>
                    <a:pt x="967" y="344"/>
                  </a:lnTo>
                  <a:lnTo>
                    <a:pt x="969" y="360"/>
                  </a:lnTo>
                  <a:lnTo>
                    <a:pt x="969" y="379"/>
                  </a:lnTo>
                  <a:lnTo>
                    <a:pt x="965" y="401"/>
                  </a:lnTo>
                  <a:lnTo>
                    <a:pt x="956" y="427"/>
                  </a:lnTo>
                  <a:lnTo>
                    <a:pt x="944" y="457"/>
                  </a:lnTo>
                  <a:lnTo>
                    <a:pt x="925" y="489"/>
                  </a:lnTo>
                  <a:lnTo>
                    <a:pt x="900" y="525"/>
                  </a:lnTo>
                  <a:lnTo>
                    <a:pt x="972" y="730"/>
                  </a:lnTo>
                  <a:lnTo>
                    <a:pt x="994" y="661"/>
                  </a:lnTo>
                  <a:lnTo>
                    <a:pt x="1155" y="151"/>
                  </a:lnTo>
                  <a:lnTo>
                    <a:pt x="1158" y="152"/>
                  </a:lnTo>
                  <a:lnTo>
                    <a:pt x="1166" y="158"/>
                  </a:lnTo>
                  <a:lnTo>
                    <a:pt x="1178" y="165"/>
                  </a:lnTo>
                  <a:lnTo>
                    <a:pt x="1195" y="175"/>
                  </a:lnTo>
                  <a:lnTo>
                    <a:pt x="1217" y="187"/>
                  </a:lnTo>
                  <a:lnTo>
                    <a:pt x="1244" y="202"/>
                  </a:lnTo>
                  <a:lnTo>
                    <a:pt x="1275" y="218"/>
                  </a:lnTo>
                  <a:lnTo>
                    <a:pt x="1310" y="236"/>
                  </a:lnTo>
                  <a:lnTo>
                    <a:pt x="1349" y="253"/>
                  </a:lnTo>
                  <a:lnTo>
                    <a:pt x="1382" y="231"/>
                  </a:lnTo>
                  <a:lnTo>
                    <a:pt x="1420" y="210"/>
                  </a:lnTo>
                  <a:lnTo>
                    <a:pt x="1463" y="193"/>
                  </a:lnTo>
                  <a:lnTo>
                    <a:pt x="1522" y="169"/>
                  </a:lnTo>
                  <a:lnTo>
                    <a:pt x="1578" y="146"/>
                  </a:lnTo>
                  <a:lnTo>
                    <a:pt x="1630" y="123"/>
                  </a:lnTo>
                  <a:lnTo>
                    <a:pt x="1677" y="101"/>
                  </a:lnTo>
                  <a:lnTo>
                    <a:pt x="1718" y="80"/>
                  </a:lnTo>
                  <a:lnTo>
                    <a:pt x="1755" y="61"/>
                  </a:lnTo>
                  <a:lnTo>
                    <a:pt x="1786" y="44"/>
                  </a:lnTo>
                  <a:lnTo>
                    <a:pt x="1812" y="29"/>
                  </a:lnTo>
                  <a:lnTo>
                    <a:pt x="1833" y="18"/>
                  </a:lnTo>
                  <a:lnTo>
                    <a:pt x="1849" y="9"/>
                  </a:lnTo>
                  <a:lnTo>
                    <a:pt x="1857" y="3"/>
                  </a:lnTo>
                  <a:lnTo>
                    <a:pt x="186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276">
              <a:extLst>
                <a:ext uri="{FF2B5EF4-FFF2-40B4-BE49-F238E27FC236}">
                  <a16:creationId xmlns:a16="http://schemas.microsoft.com/office/drawing/2014/main" id="{2E017AC9-89CC-43B3-9147-59784553838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1" y="3519"/>
              <a:ext cx="300" cy="400"/>
            </a:xfrm>
            <a:custGeom>
              <a:avLst/>
              <a:gdLst>
                <a:gd name="T0" fmla="*/ 510 w 900"/>
                <a:gd name="T1" fmla="*/ 4 h 1198"/>
                <a:gd name="T2" fmla="*/ 581 w 900"/>
                <a:gd name="T3" fmla="*/ 20 h 1198"/>
                <a:gd name="T4" fmla="*/ 640 w 900"/>
                <a:gd name="T5" fmla="*/ 47 h 1198"/>
                <a:gd name="T6" fmla="*/ 694 w 900"/>
                <a:gd name="T7" fmla="*/ 86 h 1198"/>
                <a:gd name="T8" fmla="*/ 728 w 900"/>
                <a:gd name="T9" fmla="*/ 121 h 1198"/>
                <a:gd name="T10" fmla="*/ 744 w 900"/>
                <a:gd name="T11" fmla="*/ 143 h 1198"/>
                <a:gd name="T12" fmla="*/ 747 w 900"/>
                <a:gd name="T13" fmla="*/ 147 h 1198"/>
                <a:gd name="T14" fmla="*/ 757 w 900"/>
                <a:gd name="T15" fmla="*/ 148 h 1198"/>
                <a:gd name="T16" fmla="*/ 778 w 900"/>
                <a:gd name="T17" fmla="*/ 156 h 1198"/>
                <a:gd name="T18" fmla="*/ 800 w 900"/>
                <a:gd name="T19" fmla="*/ 171 h 1198"/>
                <a:gd name="T20" fmla="*/ 826 w 900"/>
                <a:gd name="T21" fmla="*/ 197 h 1198"/>
                <a:gd name="T22" fmla="*/ 849 w 900"/>
                <a:gd name="T23" fmla="*/ 236 h 1198"/>
                <a:gd name="T24" fmla="*/ 865 w 900"/>
                <a:gd name="T25" fmla="*/ 291 h 1198"/>
                <a:gd name="T26" fmla="*/ 874 w 900"/>
                <a:gd name="T27" fmla="*/ 363 h 1198"/>
                <a:gd name="T28" fmla="*/ 869 w 900"/>
                <a:gd name="T29" fmla="*/ 459 h 1198"/>
                <a:gd name="T30" fmla="*/ 856 w 900"/>
                <a:gd name="T31" fmla="*/ 542 h 1198"/>
                <a:gd name="T32" fmla="*/ 856 w 900"/>
                <a:gd name="T33" fmla="*/ 571 h 1198"/>
                <a:gd name="T34" fmla="*/ 874 w 900"/>
                <a:gd name="T35" fmla="*/ 576 h 1198"/>
                <a:gd name="T36" fmla="*/ 889 w 900"/>
                <a:gd name="T37" fmla="*/ 591 h 1198"/>
                <a:gd name="T38" fmla="*/ 899 w 900"/>
                <a:gd name="T39" fmla="*/ 618 h 1198"/>
                <a:gd name="T40" fmla="*/ 897 w 900"/>
                <a:gd name="T41" fmla="*/ 662 h 1198"/>
                <a:gd name="T42" fmla="*/ 884 w 900"/>
                <a:gd name="T43" fmla="*/ 727 h 1198"/>
                <a:gd name="T44" fmla="*/ 860 w 900"/>
                <a:gd name="T45" fmla="*/ 795 h 1198"/>
                <a:gd name="T46" fmla="*/ 838 w 900"/>
                <a:gd name="T47" fmla="*/ 836 h 1198"/>
                <a:gd name="T48" fmla="*/ 818 w 900"/>
                <a:gd name="T49" fmla="*/ 855 h 1198"/>
                <a:gd name="T50" fmla="*/ 802 w 900"/>
                <a:gd name="T51" fmla="*/ 894 h 1198"/>
                <a:gd name="T52" fmla="*/ 772 w 900"/>
                <a:gd name="T53" fmla="*/ 969 h 1198"/>
                <a:gd name="T54" fmla="*/ 727 w 900"/>
                <a:gd name="T55" fmla="*/ 1044 h 1198"/>
                <a:gd name="T56" fmla="*/ 665 w 900"/>
                <a:gd name="T57" fmla="*/ 1110 h 1198"/>
                <a:gd name="T58" fmla="*/ 589 w 900"/>
                <a:gd name="T59" fmla="*/ 1163 h 1198"/>
                <a:gd name="T60" fmla="*/ 498 w 900"/>
                <a:gd name="T61" fmla="*/ 1194 h 1198"/>
                <a:gd name="T62" fmla="*/ 401 w 900"/>
                <a:gd name="T63" fmla="*/ 1194 h 1198"/>
                <a:gd name="T64" fmla="*/ 310 w 900"/>
                <a:gd name="T65" fmla="*/ 1163 h 1198"/>
                <a:gd name="T66" fmla="*/ 233 w 900"/>
                <a:gd name="T67" fmla="*/ 1112 h 1198"/>
                <a:gd name="T68" fmla="*/ 173 w 900"/>
                <a:gd name="T69" fmla="*/ 1044 h 1198"/>
                <a:gd name="T70" fmla="*/ 127 w 900"/>
                <a:gd name="T71" fmla="*/ 970 h 1198"/>
                <a:gd name="T72" fmla="*/ 99 w 900"/>
                <a:gd name="T73" fmla="*/ 894 h 1198"/>
                <a:gd name="T74" fmla="*/ 82 w 900"/>
                <a:gd name="T75" fmla="*/ 855 h 1198"/>
                <a:gd name="T76" fmla="*/ 62 w 900"/>
                <a:gd name="T77" fmla="*/ 837 h 1198"/>
                <a:gd name="T78" fmla="*/ 39 w 900"/>
                <a:gd name="T79" fmla="*/ 797 h 1198"/>
                <a:gd name="T80" fmla="*/ 17 w 900"/>
                <a:gd name="T81" fmla="*/ 727 h 1198"/>
                <a:gd name="T82" fmla="*/ 2 w 900"/>
                <a:gd name="T83" fmla="*/ 662 h 1198"/>
                <a:gd name="T84" fmla="*/ 2 w 900"/>
                <a:gd name="T85" fmla="*/ 618 h 1198"/>
                <a:gd name="T86" fmla="*/ 10 w 900"/>
                <a:gd name="T87" fmla="*/ 591 h 1198"/>
                <a:gd name="T88" fmla="*/ 25 w 900"/>
                <a:gd name="T89" fmla="*/ 576 h 1198"/>
                <a:gd name="T90" fmla="*/ 43 w 900"/>
                <a:gd name="T91" fmla="*/ 571 h 1198"/>
                <a:gd name="T92" fmla="*/ 45 w 900"/>
                <a:gd name="T93" fmla="*/ 544 h 1198"/>
                <a:gd name="T94" fmla="*/ 30 w 900"/>
                <a:gd name="T95" fmla="*/ 468 h 1198"/>
                <a:gd name="T96" fmla="*/ 29 w 900"/>
                <a:gd name="T97" fmla="*/ 377 h 1198"/>
                <a:gd name="T98" fmla="*/ 50 w 900"/>
                <a:gd name="T99" fmla="*/ 289 h 1198"/>
                <a:gd name="T100" fmla="*/ 91 w 900"/>
                <a:gd name="T101" fmla="*/ 211 h 1198"/>
                <a:gd name="T102" fmla="*/ 143 w 900"/>
                <a:gd name="T103" fmla="*/ 148 h 1198"/>
                <a:gd name="T104" fmla="*/ 206 w 900"/>
                <a:gd name="T105" fmla="*/ 92 h 1198"/>
                <a:gd name="T106" fmla="*/ 271 w 900"/>
                <a:gd name="T107" fmla="*/ 47 h 1198"/>
                <a:gd name="T108" fmla="*/ 337 w 900"/>
                <a:gd name="T109" fmla="*/ 18 h 1198"/>
                <a:gd name="T110" fmla="*/ 423 w 900"/>
                <a:gd name="T111" fmla="*/ 3 h 1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900" h="1198">
                  <a:moveTo>
                    <a:pt x="468" y="0"/>
                  </a:moveTo>
                  <a:lnTo>
                    <a:pt x="510" y="4"/>
                  </a:lnTo>
                  <a:lnTo>
                    <a:pt x="548" y="11"/>
                  </a:lnTo>
                  <a:lnTo>
                    <a:pt x="581" y="20"/>
                  </a:lnTo>
                  <a:lnTo>
                    <a:pt x="612" y="34"/>
                  </a:lnTo>
                  <a:lnTo>
                    <a:pt x="640" y="47"/>
                  </a:lnTo>
                  <a:lnTo>
                    <a:pt x="670" y="66"/>
                  </a:lnTo>
                  <a:lnTo>
                    <a:pt x="694" y="86"/>
                  </a:lnTo>
                  <a:lnTo>
                    <a:pt x="713" y="105"/>
                  </a:lnTo>
                  <a:lnTo>
                    <a:pt x="728" y="121"/>
                  </a:lnTo>
                  <a:lnTo>
                    <a:pt x="737" y="135"/>
                  </a:lnTo>
                  <a:lnTo>
                    <a:pt x="744" y="143"/>
                  </a:lnTo>
                  <a:lnTo>
                    <a:pt x="745" y="145"/>
                  </a:lnTo>
                  <a:lnTo>
                    <a:pt x="747" y="147"/>
                  </a:lnTo>
                  <a:lnTo>
                    <a:pt x="751" y="147"/>
                  </a:lnTo>
                  <a:lnTo>
                    <a:pt x="757" y="148"/>
                  </a:lnTo>
                  <a:lnTo>
                    <a:pt x="767" y="152"/>
                  </a:lnTo>
                  <a:lnTo>
                    <a:pt x="778" y="156"/>
                  </a:lnTo>
                  <a:lnTo>
                    <a:pt x="788" y="163"/>
                  </a:lnTo>
                  <a:lnTo>
                    <a:pt x="800" y="171"/>
                  </a:lnTo>
                  <a:lnTo>
                    <a:pt x="814" y="182"/>
                  </a:lnTo>
                  <a:lnTo>
                    <a:pt x="826" y="197"/>
                  </a:lnTo>
                  <a:lnTo>
                    <a:pt x="838" y="214"/>
                  </a:lnTo>
                  <a:lnTo>
                    <a:pt x="849" y="236"/>
                  </a:lnTo>
                  <a:lnTo>
                    <a:pt x="858" y="261"/>
                  </a:lnTo>
                  <a:lnTo>
                    <a:pt x="865" y="291"/>
                  </a:lnTo>
                  <a:lnTo>
                    <a:pt x="870" y="324"/>
                  </a:lnTo>
                  <a:lnTo>
                    <a:pt x="874" y="363"/>
                  </a:lnTo>
                  <a:lnTo>
                    <a:pt x="873" y="408"/>
                  </a:lnTo>
                  <a:lnTo>
                    <a:pt x="869" y="459"/>
                  </a:lnTo>
                  <a:lnTo>
                    <a:pt x="862" y="515"/>
                  </a:lnTo>
                  <a:lnTo>
                    <a:pt x="856" y="542"/>
                  </a:lnTo>
                  <a:lnTo>
                    <a:pt x="846" y="572"/>
                  </a:lnTo>
                  <a:lnTo>
                    <a:pt x="856" y="571"/>
                  </a:lnTo>
                  <a:lnTo>
                    <a:pt x="865" y="572"/>
                  </a:lnTo>
                  <a:lnTo>
                    <a:pt x="874" y="576"/>
                  </a:lnTo>
                  <a:lnTo>
                    <a:pt x="882" y="581"/>
                  </a:lnTo>
                  <a:lnTo>
                    <a:pt x="889" y="591"/>
                  </a:lnTo>
                  <a:lnTo>
                    <a:pt x="895" y="603"/>
                  </a:lnTo>
                  <a:lnTo>
                    <a:pt x="899" y="618"/>
                  </a:lnTo>
                  <a:lnTo>
                    <a:pt x="900" y="638"/>
                  </a:lnTo>
                  <a:lnTo>
                    <a:pt x="897" y="662"/>
                  </a:lnTo>
                  <a:lnTo>
                    <a:pt x="892" y="692"/>
                  </a:lnTo>
                  <a:lnTo>
                    <a:pt x="884" y="727"/>
                  </a:lnTo>
                  <a:lnTo>
                    <a:pt x="872" y="764"/>
                  </a:lnTo>
                  <a:lnTo>
                    <a:pt x="860" y="795"/>
                  </a:lnTo>
                  <a:lnTo>
                    <a:pt x="849" y="820"/>
                  </a:lnTo>
                  <a:lnTo>
                    <a:pt x="838" y="836"/>
                  </a:lnTo>
                  <a:lnTo>
                    <a:pt x="827" y="848"/>
                  </a:lnTo>
                  <a:lnTo>
                    <a:pt x="818" y="855"/>
                  </a:lnTo>
                  <a:lnTo>
                    <a:pt x="809" y="856"/>
                  </a:lnTo>
                  <a:lnTo>
                    <a:pt x="802" y="894"/>
                  </a:lnTo>
                  <a:lnTo>
                    <a:pt x="790" y="931"/>
                  </a:lnTo>
                  <a:lnTo>
                    <a:pt x="772" y="969"/>
                  </a:lnTo>
                  <a:lnTo>
                    <a:pt x="752" y="1007"/>
                  </a:lnTo>
                  <a:lnTo>
                    <a:pt x="727" y="1044"/>
                  </a:lnTo>
                  <a:lnTo>
                    <a:pt x="698" y="1078"/>
                  </a:lnTo>
                  <a:lnTo>
                    <a:pt x="665" y="1110"/>
                  </a:lnTo>
                  <a:lnTo>
                    <a:pt x="628" y="1138"/>
                  </a:lnTo>
                  <a:lnTo>
                    <a:pt x="589" y="1163"/>
                  </a:lnTo>
                  <a:lnTo>
                    <a:pt x="546" y="1181"/>
                  </a:lnTo>
                  <a:lnTo>
                    <a:pt x="498" y="1194"/>
                  </a:lnTo>
                  <a:lnTo>
                    <a:pt x="450" y="1198"/>
                  </a:lnTo>
                  <a:lnTo>
                    <a:pt x="401" y="1194"/>
                  </a:lnTo>
                  <a:lnTo>
                    <a:pt x="353" y="1181"/>
                  </a:lnTo>
                  <a:lnTo>
                    <a:pt x="310" y="1163"/>
                  </a:lnTo>
                  <a:lnTo>
                    <a:pt x="269" y="1140"/>
                  </a:lnTo>
                  <a:lnTo>
                    <a:pt x="233" y="1112"/>
                  </a:lnTo>
                  <a:lnTo>
                    <a:pt x="201" y="1079"/>
                  </a:lnTo>
                  <a:lnTo>
                    <a:pt x="173" y="1044"/>
                  </a:lnTo>
                  <a:lnTo>
                    <a:pt x="147" y="1008"/>
                  </a:lnTo>
                  <a:lnTo>
                    <a:pt x="127" y="970"/>
                  </a:lnTo>
                  <a:lnTo>
                    <a:pt x="111" y="931"/>
                  </a:lnTo>
                  <a:lnTo>
                    <a:pt x="99" y="894"/>
                  </a:lnTo>
                  <a:lnTo>
                    <a:pt x="91" y="856"/>
                  </a:lnTo>
                  <a:lnTo>
                    <a:pt x="82" y="855"/>
                  </a:lnTo>
                  <a:lnTo>
                    <a:pt x="72" y="848"/>
                  </a:lnTo>
                  <a:lnTo>
                    <a:pt x="62" y="837"/>
                  </a:lnTo>
                  <a:lnTo>
                    <a:pt x="52" y="820"/>
                  </a:lnTo>
                  <a:lnTo>
                    <a:pt x="39" y="797"/>
                  </a:lnTo>
                  <a:lnTo>
                    <a:pt x="29" y="766"/>
                  </a:lnTo>
                  <a:lnTo>
                    <a:pt x="17" y="727"/>
                  </a:lnTo>
                  <a:lnTo>
                    <a:pt x="7" y="692"/>
                  </a:lnTo>
                  <a:lnTo>
                    <a:pt x="2" y="662"/>
                  </a:lnTo>
                  <a:lnTo>
                    <a:pt x="0" y="638"/>
                  </a:lnTo>
                  <a:lnTo>
                    <a:pt x="2" y="618"/>
                  </a:lnTo>
                  <a:lnTo>
                    <a:pt x="4" y="603"/>
                  </a:lnTo>
                  <a:lnTo>
                    <a:pt x="10" y="591"/>
                  </a:lnTo>
                  <a:lnTo>
                    <a:pt x="17" y="581"/>
                  </a:lnTo>
                  <a:lnTo>
                    <a:pt x="25" y="576"/>
                  </a:lnTo>
                  <a:lnTo>
                    <a:pt x="34" y="572"/>
                  </a:lnTo>
                  <a:lnTo>
                    <a:pt x="43" y="571"/>
                  </a:lnTo>
                  <a:lnTo>
                    <a:pt x="54" y="572"/>
                  </a:lnTo>
                  <a:lnTo>
                    <a:pt x="45" y="544"/>
                  </a:lnTo>
                  <a:lnTo>
                    <a:pt x="38" y="515"/>
                  </a:lnTo>
                  <a:lnTo>
                    <a:pt x="30" y="468"/>
                  </a:lnTo>
                  <a:lnTo>
                    <a:pt x="27" y="423"/>
                  </a:lnTo>
                  <a:lnTo>
                    <a:pt x="29" y="377"/>
                  </a:lnTo>
                  <a:lnTo>
                    <a:pt x="37" y="334"/>
                  </a:lnTo>
                  <a:lnTo>
                    <a:pt x="50" y="289"/>
                  </a:lnTo>
                  <a:lnTo>
                    <a:pt x="69" y="249"/>
                  </a:lnTo>
                  <a:lnTo>
                    <a:pt x="91" y="211"/>
                  </a:lnTo>
                  <a:lnTo>
                    <a:pt x="116" y="178"/>
                  </a:lnTo>
                  <a:lnTo>
                    <a:pt x="143" y="148"/>
                  </a:lnTo>
                  <a:lnTo>
                    <a:pt x="174" y="118"/>
                  </a:lnTo>
                  <a:lnTo>
                    <a:pt x="206" y="92"/>
                  </a:lnTo>
                  <a:lnTo>
                    <a:pt x="241" y="67"/>
                  </a:lnTo>
                  <a:lnTo>
                    <a:pt x="271" y="47"/>
                  </a:lnTo>
                  <a:lnTo>
                    <a:pt x="303" y="31"/>
                  </a:lnTo>
                  <a:lnTo>
                    <a:pt x="337" y="18"/>
                  </a:lnTo>
                  <a:lnTo>
                    <a:pt x="378" y="5"/>
                  </a:lnTo>
                  <a:lnTo>
                    <a:pt x="423" y="3"/>
                  </a:lnTo>
                  <a:lnTo>
                    <a:pt x="46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277">
              <a:extLst>
                <a:ext uri="{FF2B5EF4-FFF2-40B4-BE49-F238E27FC236}">
                  <a16:creationId xmlns:a16="http://schemas.microsoft.com/office/drawing/2014/main" id="{74F7FD35-5D27-4634-AEE8-9EBAA3B22D47}"/>
                </a:ext>
              </a:extLst>
            </p:cNvPr>
            <p:cNvSpPr>
              <a:spLocks/>
            </p:cNvSpPr>
            <p:nvPr/>
          </p:nvSpPr>
          <p:spPr bwMode="auto">
            <a:xfrm>
              <a:off x="383" y="3519"/>
              <a:ext cx="300" cy="400"/>
            </a:xfrm>
            <a:custGeom>
              <a:avLst/>
              <a:gdLst>
                <a:gd name="T0" fmla="*/ 508 w 898"/>
                <a:gd name="T1" fmla="*/ 4 h 1198"/>
                <a:gd name="T2" fmla="*/ 581 w 898"/>
                <a:gd name="T3" fmla="*/ 20 h 1198"/>
                <a:gd name="T4" fmla="*/ 638 w 898"/>
                <a:gd name="T5" fmla="*/ 47 h 1198"/>
                <a:gd name="T6" fmla="*/ 694 w 898"/>
                <a:gd name="T7" fmla="*/ 86 h 1198"/>
                <a:gd name="T8" fmla="*/ 727 w 898"/>
                <a:gd name="T9" fmla="*/ 121 h 1198"/>
                <a:gd name="T10" fmla="*/ 742 w 898"/>
                <a:gd name="T11" fmla="*/ 143 h 1198"/>
                <a:gd name="T12" fmla="*/ 746 w 898"/>
                <a:gd name="T13" fmla="*/ 147 h 1198"/>
                <a:gd name="T14" fmla="*/ 757 w 898"/>
                <a:gd name="T15" fmla="*/ 148 h 1198"/>
                <a:gd name="T16" fmla="*/ 776 w 898"/>
                <a:gd name="T17" fmla="*/ 156 h 1198"/>
                <a:gd name="T18" fmla="*/ 800 w 898"/>
                <a:gd name="T19" fmla="*/ 171 h 1198"/>
                <a:gd name="T20" fmla="*/ 824 w 898"/>
                <a:gd name="T21" fmla="*/ 197 h 1198"/>
                <a:gd name="T22" fmla="*/ 847 w 898"/>
                <a:gd name="T23" fmla="*/ 236 h 1198"/>
                <a:gd name="T24" fmla="*/ 864 w 898"/>
                <a:gd name="T25" fmla="*/ 291 h 1198"/>
                <a:gd name="T26" fmla="*/ 872 w 898"/>
                <a:gd name="T27" fmla="*/ 363 h 1198"/>
                <a:gd name="T28" fmla="*/ 868 w 898"/>
                <a:gd name="T29" fmla="*/ 459 h 1198"/>
                <a:gd name="T30" fmla="*/ 854 w 898"/>
                <a:gd name="T31" fmla="*/ 542 h 1198"/>
                <a:gd name="T32" fmla="*/ 855 w 898"/>
                <a:gd name="T33" fmla="*/ 571 h 1198"/>
                <a:gd name="T34" fmla="*/ 874 w 898"/>
                <a:gd name="T35" fmla="*/ 576 h 1198"/>
                <a:gd name="T36" fmla="*/ 888 w 898"/>
                <a:gd name="T37" fmla="*/ 591 h 1198"/>
                <a:gd name="T38" fmla="*/ 898 w 898"/>
                <a:gd name="T39" fmla="*/ 618 h 1198"/>
                <a:gd name="T40" fmla="*/ 897 w 898"/>
                <a:gd name="T41" fmla="*/ 662 h 1198"/>
                <a:gd name="T42" fmla="*/ 883 w 898"/>
                <a:gd name="T43" fmla="*/ 727 h 1198"/>
                <a:gd name="T44" fmla="*/ 859 w 898"/>
                <a:gd name="T45" fmla="*/ 795 h 1198"/>
                <a:gd name="T46" fmla="*/ 837 w 898"/>
                <a:gd name="T47" fmla="*/ 836 h 1198"/>
                <a:gd name="T48" fmla="*/ 817 w 898"/>
                <a:gd name="T49" fmla="*/ 855 h 1198"/>
                <a:gd name="T50" fmla="*/ 800 w 898"/>
                <a:gd name="T51" fmla="*/ 894 h 1198"/>
                <a:gd name="T52" fmla="*/ 772 w 898"/>
                <a:gd name="T53" fmla="*/ 969 h 1198"/>
                <a:gd name="T54" fmla="*/ 726 w 898"/>
                <a:gd name="T55" fmla="*/ 1044 h 1198"/>
                <a:gd name="T56" fmla="*/ 664 w 898"/>
                <a:gd name="T57" fmla="*/ 1110 h 1198"/>
                <a:gd name="T58" fmla="*/ 589 w 898"/>
                <a:gd name="T59" fmla="*/ 1163 h 1198"/>
                <a:gd name="T60" fmla="*/ 497 w 898"/>
                <a:gd name="T61" fmla="*/ 1194 h 1198"/>
                <a:gd name="T62" fmla="*/ 399 w 898"/>
                <a:gd name="T63" fmla="*/ 1194 h 1198"/>
                <a:gd name="T64" fmla="*/ 309 w 898"/>
                <a:gd name="T65" fmla="*/ 1163 h 1198"/>
                <a:gd name="T66" fmla="*/ 232 w 898"/>
                <a:gd name="T67" fmla="*/ 1112 h 1198"/>
                <a:gd name="T68" fmla="*/ 170 w 898"/>
                <a:gd name="T69" fmla="*/ 1044 h 1198"/>
                <a:gd name="T70" fmla="*/ 126 w 898"/>
                <a:gd name="T71" fmla="*/ 970 h 1198"/>
                <a:gd name="T72" fmla="*/ 98 w 898"/>
                <a:gd name="T73" fmla="*/ 894 h 1198"/>
                <a:gd name="T74" fmla="*/ 80 w 898"/>
                <a:gd name="T75" fmla="*/ 855 h 1198"/>
                <a:gd name="T76" fmla="*/ 60 w 898"/>
                <a:gd name="T77" fmla="*/ 836 h 1198"/>
                <a:gd name="T78" fmla="*/ 39 w 898"/>
                <a:gd name="T79" fmla="*/ 795 h 1198"/>
                <a:gd name="T80" fmla="*/ 15 w 898"/>
                <a:gd name="T81" fmla="*/ 727 h 1198"/>
                <a:gd name="T82" fmla="*/ 1 w 898"/>
                <a:gd name="T83" fmla="*/ 663 h 1198"/>
                <a:gd name="T84" fmla="*/ 0 w 898"/>
                <a:gd name="T85" fmla="*/ 619 h 1198"/>
                <a:gd name="T86" fmla="*/ 9 w 898"/>
                <a:gd name="T87" fmla="*/ 591 h 1198"/>
                <a:gd name="T88" fmla="*/ 24 w 898"/>
                <a:gd name="T89" fmla="*/ 577 h 1198"/>
                <a:gd name="T90" fmla="*/ 43 w 898"/>
                <a:gd name="T91" fmla="*/ 572 h 1198"/>
                <a:gd name="T92" fmla="*/ 43 w 898"/>
                <a:gd name="T93" fmla="*/ 544 h 1198"/>
                <a:gd name="T94" fmla="*/ 29 w 898"/>
                <a:gd name="T95" fmla="*/ 468 h 1198"/>
                <a:gd name="T96" fmla="*/ 28 w 898"/>
                <a:gd name="T97" fmla="*/ 378 h 1198"/>
                <a:gd name="T98" fmla="*/ 49 w 898"/>
                <a:gd name="T99" fmla="*/ 291 h 1198"/>
                <a:gd name="T100" fmla="*/ 90 w 898"/>
                <a:gd name="T101" fmla="*/ 213 h 1198"/>
                <a:gd name="T102" fmla="*/ 142 w 898"/>
                <a:gd name="T103" fmla="*/ 149 h 1198"/>
                <a:gd name="T104" fmla="*/ 205 w 898"/>
                <a:gd name="T105" fmla="*/ 92 h 1198"/>
                <a:gd name="T106" fmla="*/ 270 w 898"/>
                <a:gd name="T107" fmla="*/ 49 h 1198"/>
                <a:gd name="T108" fmla="*/ 335 w 898"/>
                <a:gd name="T109" fmla="*/ 19 h 1198"/>
                <a:gd name="T110" fmla="*/ 421 w 898"/>
                <a:gd name="T111" fmla="*/ 3 h 1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98" h="1198">
                  <a:moveTo>
                    <a:pt x="466" y="0"/>
                  </a:moveTo>
                  <a:lnTo>
                    <a:pt x="508" y="4"/>
                  </a:lnTo>
                  <a:lnTo>
                    <a:pt x="546" y="11"/>
                  </a:lnTo>
                  <a:lnTo>
                    <a:pt x="581" y="20"/>
                  </a:lnTo>
                  <a:lnTo>
                    <a:pt x="612" y="34"/>
                  </a:lnTo>
                  <a:lnTo>
                    <a:pt x="638" y="47"/>
                  </a:lnTo>
                  <a:lnTo>
                    <a:pt x="668" y="66"/>
                  </a:lnTo>
                  <a:lnTo>
                    <a:pt x="694" y="86"/>
                  </a:lnTo>
                  <a:lnTo>
                    <a:pt x="712" y="105"/>
                  </a:lnTo>
                  <a:lnTo>
                    <a:pt x="727" y="121"/>
                  </a:lnTo>
                  <a:lnTo>
                    <a:pt x="737" y="135"/>
                  </a:lnTo>
                  <a:lnTo>
                    <a:pt x="742" y="143"/>
                  </a:lnTo>
                  <a:lnTo>
                    <a:pt x="745" y="145"/>
                  </a:lnTo>
                  <a:lnTo>
                    <a:pt x="746" y="147"/>
                  </a:lnTo>
                  <a:lnTo>
                    <a:pt x="750" y="147"/>
                  </a:lnTo>
                  <a:lnTo>
                    <a:pt x="757" y="148"/>
                  </a:lnTo>
                  <a:lnTo>
                    <a:pt x="766" y="152"/>
                  </a:lnTo>
                  <a:lnTo>
                    <a:pt x="776" y="156"/>
                  </a:lnTo>
                  <a:lnTo>
                    <a:pt x="788" y="163"/>
                  </a:lnTo>
                  <a:lnTo>
                    <a:pt x="800" y="171"/>
                  </a:lnTo>
                  <a:lnTo>
                    <a:pt x="812" y="182"/>
                  </a:lnTo>
                  <a:lnTo>
                    <a:pt x="824" y="197"/>
                  </a:lnTo>
                  <a:lnTo>
                    <a:pt x="836" y="214"/>
                  </a:lnTo>
                  <a:lnTo>
                    <a:pt x="847" y="236"/>
                  </a:lnTo>
                  <a:lnTo>
                    <a:pt x="856" y="261"/>
                  </a:lnTo>
                  <a:lnTo>
                    <a:pt x="864" y="291"/>
                  </a:lnTo>
                  <a:lnTo>
                    <a:pt x="870" y="324"/>
                  </a:lnTo>
                  <a:lnTo>
                    <a:pt x="872" y="363"/>
                  </a:lnTo>
                  <a:lnTo>
                    <a:pt x="872" y="408"/>
                  </a:lnTo>
                  <a:lnTo>
                    <a:pt x="868" y="459"/>
                  </a:lnTo>
                  <a:lnTo>
                    <a:pt x="860" y="515"/>
                  </a:lnTo>
                  <a:lnTo>
                    <a:pt x="854" y="542"/>
                  </a:lnTo>
                  <a:lnTo>
                    <a:pt x="845" y="572"/>
                  </a:lnTo>
                  <a:lnTo>
                    <a:pt x="855" y="571"/>
                  </a:lnTo>
                  <a:lnTo>
                    <a:pt x="864" y="572"/>
                  </a:lnTo>
                  <a:lnTo>
                    <a:pt x="874" y="576"/>
                  </a:lnTo>
                  <a:lnTo>
                    <a:pt x="882" y="581"/>
                  </a:lnTo>
                  <a:lnTo>
                    <a:pt x="888" y="591"/>
                  </a:lnTo>
                  <a:lnTo>
                    <a:pt x="894" y="603"/>
                  </a:lnTo>
                  <a:lnTo>
                    <a:pt x="898" y="618"/>
                  </a:lnTo>
                  <a:lnTo>
                    <a:pt x="898" y="638"/>
                  </a:lnTo>
                  <a:lnTo>
                    <a:pt x="897" y="662"/>
                  </a:lnTo>
                  <a:lnTo>
                    <a:pt x="891" y="692"/>
                  </a:lnTo>
                  <a:lnTo>
                    <a:pt x="883" y="727"/>
                  </a:lnTo>
                  <a:lnTo>
                    <a:pt x="871" y="764"/>
                  </a:lnTo>
                  <a:lnTo>
                    <a:pt x="859" y="795"/>
                  </a:lnTo>
                  <a:lnTo>
                    <a:pt x="848" y="820"/>
                  </a:lnTo>
                  <a:lnTo>
                    <a:pt x="837" y="836"/>
                  </a:lnTo>
                  <a:lnTo>
                    <a:pt x="827" y="848"/>
                  </a:lnTo>
                  <a:lnTo>
                    <a:pt x="817" y="855"/>
                  </a:lnTo>
                  <a:lnTo>
                    <a:pt x="808" y="856"/>
                  </a:lnTo>
                  <a:lnTo>
                    <a:pt x="800" y="894"/>
                  </a:lnTo>
                  <a:lnTo>
                    <a:pt x="788" y="931"/>
                  </a:lnTo>
                  <a:lnTo>
                    <a:pt x="772" y="969"/>
                  </a:lnTo>
                  <a:lnTo>
                    <a:pt x="750" y="1007"/>
                  </a:lnTo>
                  <a:lnTo>
                    <a:pt x="726" y="1044"/>
                  </a:lnTo>
                  <a:lnTo>
                    <a:pt x="696" y="1078"/>
                  </a:lnTo>
                  <a:lnTo>
                    <a:pt x="664" y="1110"/>
                  </a:lnTo>
                  <a:lnTo>
                    <a:pt x="628" y="1138"/>
                  </a:lnTo>
                  <a:lnTo>
                    <a:pt x="589" y="1163"/>
                  </a:lnTo>
                  <a:lnTo>
                    <a:pt x="544" y="1181"/>
                  </a:lnTo>
                  <a:lnTo>
                    <a:pt x="497" y="1194"/>
                  </a:lnTo>
                  <a:lnTo>
                    <a:pt x="447" y="1198"/>
                  </a:lnTo>
                  <a:lnTo>
                    <a:pt x="399" y="1194"/>
                  </a:lnTo>
                  <a:lnTo>
                    <a:pt x="352" y="1181"/>
                  </a:lnTo>
                  <a:lnTo>
                    <a:pt x="309" y="1163"/>
                  </a:lnTo>
                  <a:lnTo>
                    <a:pt x="269" y="1140"/>
                  </a:lnTo>
                  <a:lnTo>
                    <a:pt x="232" y="1112"/>
                  </a:lnTo>
                  <a:lnTo>
                    <a:pt x="200" y="1079"/>
                  </a:lnTo>
                  <a:lnTo>
                    <a:pt x="170" y="1044"/>
                  </a:lnTo>
                  <a:lnTo>
                    <a:pt x="146" y="1008"/>
                  </a:lnTo>
                  <a:lnTo>
                    <a:pt x="126" y="970"/>
                  </a:lnTo>
                  <a:lnTo>
                    <a:pt x="110" y="931"/>
                  </a:lnTo>
                  <a:lnTo>
                    <a:pt x="98" y="894"/>
                  </a:lnTo>
                  <a:lnTo>
                    <a:pt x="90" y="856"/>
                  </a:lnTo>
                  <a:lnTo>
                    <a:pt x="80" y="855"/>
                  </a:lnTo>
                  <a:lnTo>
                    <a:pt x="71" y="848"/>
                  </a:lnTo>
                  <a:lnTo>
                    <a:pt x="60" y="836"/>
                  </a:lnTo>
                  <a:lnTo>
                    <a:pt x="49" y="820"/>
                  </a:lnTo>
                  <a:lnTo>
                    <a:pt x="39" y="795"/>
                  </a:lnTo>
                  <a:lnTo>
                    <a:pt x="27" y="766"/>
                  </a:lnTo>
                  <a:lnTo>
                    <a:pt x="15" y="727"/>
                  </a:lnTo>
                  <a:lnTo>
                    <a:pt x="6" y="693"/>
                  </a:lnTo>
                  <a:lnTo>
                    <a:pt x="1" y="663"/>
                  </a:lnTo>
                  <a:lnTo>
                    <a:pt x="0" y="639"/>
                  </a:lnTo>
                  <a:lnTo>
                    <a:pt x="0" y="619"/>
                  </a:lnTo>
                  <a:lnTo>
                    <a:pt x="4" y="603"/>
                  </a:lnTo>
                  <a:lnTo>
                    <a:pt x="9" y="591"/>
                  </a:lnTo>
                  <a:lnTo>
                    <a:pt x="16" y="583"/>
                  </a:lnTo>
                  <a:lnTo>
                    <a:pt x="24" y="577"/>
                  </a:lnTo>
                  <a:lnTo>
                    <a:pt x="33" y="573"/>
                  </a:lnTo>
                  <a:lnTo>
                    <a:pt x="43" y="572"/>
                  </a:lnTo>
                  <a:lnTo>
                    <a:pt x="52" y="572"/>
                  </a:lnTo>
                  <a:lnTo>
                    <a:pt x="43" y="544"/>
                  </a:lnTo>
                  <a:lnTo>
                    <a:pt x="37" y="515"/>
                  </a:lnTo>
                  <a:lnTo>
                    <a:pt x="29" y="468"/>
                  </a:lnTo>
                  <a:lnTo>
                    <a:pt x="25" y="423"/>
                  </a:lnTo>
                  <a:lnTo>
                    <a:pt x="28" y="378"/>
                  </a:lnTo>
                  <a:lnTo>
                    <a:pt x="36" y="335"/>
                  </a:lnTo>
                  <a:lnTo>
                    <a:pt x="49" y="291"/>
                  </a:lnTo>
                  <a:lnTo>
                    <a:pt x="67" y="250"/>
                  </a:lnTo>
                  <a:lnTo>
                    <a:pt x="90" y="213"/>
                  </a:lnTo>
                  <a:lnTo>
                    <a:pt x="114" y="179"/>
                  </a:lnTo>
                  <a:lnTo>
                    <a:pt x="142" y="149"/>
                  </a:lnTo>
                  <a:lnTo>
                    <a:pt x="173" y="118"/>
                  </a:lnTo>
                  <a:lnTo>
                    <a:pt x="205" y="92"/>
                  </a:lnTo>
                  <a:lnTo>
                    <a:pt x="240" y="67"/>
                  </a:lnTo>
                  <a:lnTo>
                    <a:pt x="270" y="49"/>
                  </a:lnTo>
                  <a:lnTo>
                    <a:pt x="301" y="32"/>
                  </a:lnTo>
                  <a:lnTo>
                    <a:pt x="335" y="19"/>
                  </a:lnTo>
                  <a:lnTo>
                    <a:pt x="376" y="8"/>
                  </a:lnTo>
                  <a:lnTo>
                    <a:pt x="421" y="3"/>
                  </a:lnTo>
                  <a:lnTo>
                    <a:pt x="4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278">
              <a:extLst>
                <a:ext uri="{FF2B5EF4-FFF2-40B4-BE49-F238E27FC236}">
                  <a16:creationId xmlns:a16="http://schemas.microsoft.com/office/drawing/2014/main" id="{4834884C-4EF8-467D-A422-9832F79D8BCC}"/>
                </a:ext>
              </a:extLst>
            </p:cNvPr>
            <p:cNvSpPr>
              <a:spLocks/>
            </p:cNvSpPr>
            <p:nvPr/>
          </p:nvSpPr>
          <p:spPr bwMode="auto">
            <a:xfrm>
              <a:off x="809" y="3394"/>
              <a:ext cx="356" cy="476"/>
            </a:xfrm>
            <a:custGeom>
              <a:avLst/>
              <a:gdLst>
                <a:gd name="T0" fmla="*/ 591 w 1070"/>
                <a:gd name="T1" fmla="*/ 2 h 1428"/>
                <a:gd name="T2" fmla="*/ 668 w 1070"/>
                <a:gd name="T3" fmla="*/ 16 h 1428"/>
                <a:gd name="T4" fmla="*/ 732 w 1070"/>
                <a:gd name="T5" fmla="*/ 42 h 1428"/>
                <a:gd name="T6" fmla="*/ 792 w 1070"/>
                <a:gd name="T7" fmla="*/ 77 h 1428"/>
                <a:gd name="T8" fmla="*/ 840 w 1070"/>
                <a:gd name="T9" fmla="*/ 116 h 1428"/>
                <a:gd name="T10" fmla="*/ 871 w 1070"/>
                <a:gd name="T11" fmla="*/ 151 h 1428"/>
                <a:gd name="T12" fmla="*/ 884 w 1070"/>
                <a:gd name="T13" fmla="*/ 171 h 1428"/>
                <a:gd name="T14" fmla="*/ 887 w 1070"/>
                <a:gd name="T15" fmla="*/ 174 h 1428"/>
                <a:gd name="T16" fmla="*/ 899 w 1070"/>
                <a:gd name="T17" fmla="*/ 177 h 1428"/>
                <a:gd name="T18" fmla="*/ 918 w 1070"/>
                <a:gd name="T19" fmla="*/ 182 h 1428"/>
                <a:gd name="T20" fmla="*/ 942 w 1070"/>
                <a:gd name="T21" fmla="*/ 197 h 1428"/>
                <a:gd name="T22" fmla="*/ 969 w 1070"/>
                <a:gd name="T23" fmla="*/ 220 h 1428"/>
                <a:gd name="T24" fmla="*/ 995 w 1070"/>
                <a:gd name="T25" fmla="*/ 253 h 1428"/>
                <a:gd name="T26" fmla="*/ 1018 w 1070"/>
                <a:gd name="T27" fmla="*/ 302 h 1428"/>
                <a:gd name="T28" fmla="*/ 1032 w 1070"/>
                <a:gd name="T29" fmla="*/ 365 h 1428"/>
                <a:gd name="T30" fmla="*/ 1039 w 1070"/>
                <a:gd name="T31" fmla="*/ 448 h 1428"/>
                <a:gd name="T32" fmla="*/ 1034 w 1070"/>
                <a:gd name="T33" fmla="*/ 552 h 1428"/>
                <a:gd name="T34" fmla="*/ 1016 w 1070"/>
                <a:gd name="T35" fmla="*/ 646 h 1428"/>
                <a:gd name="T36" fmla="*/ 1018 w 1070"/>
                <a:gd name="T37" fmla="*/ 680 h 1428"/>
                <a:gd name="T38" fmla="*/ 1038 w 1070"/>
                <a:gd name="T39" fmla="*/ 684 h 1428"/>
                <a:gd name="T40" fmla="*/ 1055 w 1070"/>
                <a:gd name="T41" fmla="*/ 699 h 1428"/>
                <a:gd name="T42" fmla="*/ 1066 w 1070"/>
                <a:gd name="T43" fmla="*/ 724 h 1428"/>
                <a:gd name="T44" fmla="*/ 1070 w 1070"/>
                <a:gd name="T45" fmla="*/ 766 h 1428"/>
                <a:gd name="T46" fmla="*/ 1061 w 1070"/>
                <a:gd name="T47" fmla="*/ 827 h 1428"/>
                <a:gd name="T48" fmla="*/ 1039 w 1070"/>
                <a:gd name="T49" fmla="*/ 906 h 1428"/>
                <a:gd name="T50" fmla="*/ 1014 w 1070"/>
                <a:gd name="T51" fmla="*/ 966 h 1428"/>
                <a:gd name="T52" fmla="*/ 992 w 1070"/>
                <a:gd name="T53" fmla="*/ 1001 h 1428"/>
                <a:gd name="T54" fmla="*/ 970 w 1070"/>
                <a:gd name="T55" fmla="*/ 1018 h 1428"/>
                <a:gd name="T56" fmla="*/ 953 w 1070"/>
                <a:gd name="T57" fmla="*/ 1061 h 1428"/>
                <a:gd name="T58" fmla="*/ 923 w 1070"/>
                <a:gd name="T59" fmla="*/ 1143 h 1428"/>
                <a:gd name="T60" fmla="*/ 878 w 1070"/>
                <a:gd name="T61" fmla="*/ 1223 h 1428"/>
                <a:gd name="T62" fmla="*/ 816 w 1070"/>
                <a:gd name="T63" fmla="*/ 1299 h 1428"/>
                <a:gd name="T64" fmla="*/ 739 w 1070"/>
                <a:gd name="T65" fmla="*/ 1362 h 1428"/>
                <a:gd name="T66" fmla="*/ 649 w 1070"/>
                <a:gd name="T67" fmla="*/ 1408 h 1428"/>
                <a:gd name="T68" fmla="*/ 558 w 1070"/>
                <a:gd name="T69" fmla="*/ 1427 h 1428"/>
                <a:gd name="T70" fmla="*/ 465 w 1070"/>
                <a:gd name="T71" fmla="*/ 1421 h 1428"/>
                <a:gd name="T72" fmla="*/ 372 w 1070"/>
                <a:gd name="T73" fmla="*/ 1389 h 1428"/>
                <a:gd name="T74" fmla="*/ 287 w 1070"/>
                <a:gd name="T75" fmla="*/ 1334 h 1428"/>
                <a:gd name="T76" fmla="*/ 219 w 1070"/>
                <a:gd name="T77" fmla="*/ 1264 h 1428"/>
                <a:gd name="T78" fmla="*/ 165 w 1070"/>
                <a:gd name="T79" fmla="*/ 1184 h 1428"/>
                <a:gd name="T80" fmla="*/ 127 w 1070"/>
                <a:gd name="T81" fmla="*/ 1102 h 1428"/>
                <a:gd name="T82" fmla="*/ 107 w 1070"/>
                <a:gd name="T83" fmla="*/ 1022 h 1428"/>
                <a:gd name="T84" fmla="*/ 88 w 1070"/>
                <a:gd name="T85" fmla="*/ 1012 h 1428"/>
                <a:gd name="T86" fmla="*/ 66 w 1070"/>
                <a:gd name="T87" fmla="*/ 988 h 1428"/>
                <a:gd name="T88" fmla="*/ 43 w 1070"/>
                <a:gd name="T89" fmla="*/ 941 h 1428"/>
                <a:gd name="T90" fmla="*/ 19 w 1070"/>
                <a:gd name="T91" fmla="*/ 866 h 1428"/>
                <a:gd name="T92" fmla="*/ 2 w 1070"/>
                <a:gd name="T93" fmla="*/ 794 h 1428"/>
                <a:gd name="T94" fmla="*/ 0 w 1070"/>
                <a:gd name="T95" fmla="*/ 744 h 1428"/>
                <a:gd name="T96" fmla="*/ 8 w 1070"/>
                <a:gd name="T97" fmla="*/ 711 h 1428"/>
                <a:gd name="T98" fmla="*/ 23 w 1070"/>
                <a:gd name="T99" fmla="*/ 691 h 1428"/>
                <a:gd name="T100" fmla="*/ 41 w 1070"/>
                <a:gd name="T101" fmla="*/ 683 h 1428"/>
                <a:gd name="T102" fmla="*/ 63 w 1070"/>
                <a:gd name="T103" fmla="*/ 681 h 1428"/>
                <a:gd name="T104" fmla="*/ 45 w 1070"/>
                <a:gd name="T105" fmla="*/ 614 h 1428"/>
                <a:gd name="T106" fmla="*/ 32 w 1070"/>
                <a:gd name="T107" fmla="*/ 504 h 1428"/>
                <a:gd name="T108" fmla="*/ 44 w 1070"/>
                <a:gd name="T109" fmla="*/ 399 h 1428"/>
                <a:gd name="T110" fmla="*/ 74 w 1070"/>
                <a:gd name="T111" fmla="*/ 313 h 1428"/>
                <a:gd name="T112" fmla="*/ 117 w 1070"/>
                <a:gd name="T113" fmla="*/ 238 h 1428"/>
                <a:gd name="T114" fmla="*/ 170 w 1070"/>
                <a:gd name="T115" fmla="*/ 177 h 1428"/>
                <a:gd name="T116" fmla="*/ 246 w 1070"/>
                <a:gd name="T117" fmla="*/ 109 h 1428"/>
                <a:gd name="T118" fmla="*/ 321 w 1070"/>
                <a:gd name="T119" fmla="*/ 58 h 1428"/>
                <a:gd name="T120" fmla="*/ 399 w 1070"/>
                <a:gd name="T121" fmla="*/ 22 h 1428"/>
                <a:gd name="T122" fmla="*/ 466 w 1070"/>
                <a:gd name="T123" fmla="*/ 6 h 1428"/>
                <a:gd name="T124" fmla="*/ 548 w 1070"/>
                <a:gd name="T125" fmla="*/ 0 h 1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70" h="1428">
                  <a:moveTo>
                    <a:pt x="548" y="0"/>
                  </a:moveTo>
                  <a:lnTo>
                    <a:pt x="591" y="2"/>
                  </a:lnTo>
                  <a:lnTo>
                    <a:pt x="632" y="8"/>
                  </a:lnTo>
                  <a:lnTo>
                    <a:pt x="668" y="16"/>
                  </a:lnTo>
                  <a:lnTo>
                    <a:pt x="703" y="29"/>
                  </a:lnTo>
                  <a:lnTo>
                    <a:pt x="732" y="42"/>
                  </a:lnTo>
                  <a:lnTo>
                    <a:pt x="761" y="57"/>
                  </a:lnTo>
                  <a:lnTo>
                    <a:pt x="792" y="77"/>
                  </a:lnTo>
                  <a:lnTo>
                    <a:pt x="819" y="97"/>
                  </a:lnTo>
                  <a:lnTo>
                    <a:pt x="840" y="116"/>
                  </a:lnTo>
                  <a:lnTo>
                    <a:pt x="858" y="135"/>
                  </a:lnTo>
                  <a:lnTo>
                    <a:pt x="871" y="151"/>
                  </a:lnTo>
                  <a:lnTo>
                    <a:pt x="879" y="163"/>
                  </a:lnTo>
                  <a:lnTo>
                    <a:pt x="884" y="171"/>
                  </a:lnTo>
                  <a:lnTo>
                    <a:pt x="886" y="174"/>
                  </a:lnTo>
                  <a:lnTo>
                    <a:pt x="887" y="174"/>
                  </a:lnTo>
                  <a:lnTo>
                    <a:pt x="892" y="175"/>
                  </a:lnTo>
                  <a:lnTo>
                    <a:pt x="899" y="177"/>
                  </a:lnTo>
                  <a:lnTo>
                    <a:pt x="907" y="179"/>
                  </a:lnTo>
                  <a:lnTo>
                    <a:pt x="918" y="182"/>
                  </a:lnTo>
                  <a:lnTo>
                    <a:pt x="930" y="189"/>
                  </a:lnTo>
                  <a:lnTo>
                    <a:pt x="942" y="197"/>
                  </a:lnTo>
                  <a:lnTo>
                    <a:pt x="956" y="206"/>
                  </a:lnTo>
                  <a:lnTo>
                    <a:pt x="969" y="220"/>
                  </a:lnTo>
                  <a:lnTo>
                    <a:pt x="983" y="234"/>
                  </a:lnTo>
                  <a:lnTo>
                    <a:pt x="995" y="253"/>
                  </a:lnTo>
                  <a:lnTo>
                    <a:pt x="1007" y="275"/>
                  </a:lnTo>
                  <a:lnTo>
                    <a:pt x="1018" y="302"/>
                  </a:lnTo>
                  <a:lnTo>
                    <a:pt x="1026" y="331"/>
                  </a:lnTo>
                  <a:lnTo>
                    <a:pt x="1032" y="365"/>
                  </a:lnTo>
                  <a:lnTo>
                    <a:pt x="1038" y="404"/>
                  </a:lnTo>
                  <a:lnTo>
                    <a:pt x="1039" y="448"/>
                  </a:lnTo>
                  <a:lnTo>
                    <a:pt x="1038" y="498"/>
                  </a:lnTo>
                  <a:lnTo>
                    <a:pt x="1034" y="552"/>
                  </a:lnTo>
                  <a:lnTo>
                    <a:pt x="1024" y="614"/>
                  </a:lnTo>
                  <a:lnTo>
                    <a:pt x="1016" y="646"/>
                  </a:lnTo>
                  <a:lnTo>
                    <a:pt x="1007" y="681"/>
                  </a:lnTo>
                  <a:lnTo>
                    <a:pt x="1018" y="680"/>
                  </a:lnTo>
                  <a:lnTo>
                    <a:pt x="1027" y="681"/>
                  </a:lnTo>
                  <a:lnTo>
                    <a:pt x="1038" y="684"/>
                  </a:lnTo>
                  <a:lnTo>
                    <a:pt x="1047" y="689"/>
                  </a:lnTo>
                  <a:lnTo>
                    <a:pt x="1055" y="699"/>
                  </a:lnTo>
                  <a:lnTo>
                    <a:pt x="1062" y="709"/>
                  </a:lnTo>
                  <a:lnTo>
                    <a:pt x="1066" y="724"/>
                  </a:lnTo>
                  <a:lnTo>
                    <a:pt x="1069" y="743"/>
                  </a:lnTo>
                  <a:lnTo>
                    <a:pt x="1070" y="766"/>
                  </a:lnTo>
                  <a:lnTo>
                    <a:pt x="1067" y="794"/>
                  </a:lnTo>
                  <a:lnTo>
                    <a:pt x="1061" y="827"/>
                  </a:lnTo>
                  <a:lnTo>
                    <a:pt x="1051" y="864"/>
                  </a:lnTo>
                  <a:lnTo>
                    <a:pt x="1039" y="906"/>
                  </a:lnTo>
                  <a:lnTo>
                    <a:pt x="1026" y="940"/>
                  </a:lnTo>
                  <a:lnTo>
                    <a:pt x="1014" y="966"/>
                  </a:lnTo>
                  <a:lnTo>
                    <a:pt x="1003" y="987"/>
                  </a:lnTo>
                  <a:lnTo>
                    <a:pt x="992" y="1001"/>
                  </a:lnTo>
                  <a:lnTo>
                    <a:pt x="981" y="1012"/>
                  </a:lnTo>
                  <a:lnTo>
                    <a:pt x="970" y="1018"/>
                  </a:lnTo>
                  <a:lnTo>
                    <a:pt x="962" y="1020"/>
                  </a:lnTo>
                  <a:lnTo>
                    <a:pt x="953" y="1061"/>
                  </a:lnTo>
                  <a:lnTo>
                    <a:pt x="941" y="1101"/>
                  </a:lnTo>
                  <a:lnTo>
                    <a:pt x="923" y="1143"/>
                  </a:lnTo>
                  <a:lnTo>
                    <a:pt x="903" y="1183"/>
                  </a:lnTo>
                  <a:lnTo>
                    <a:pt x="878" y="1223"/>
                  </a:lnTo>
                  <a:lnTo>
                    <a:pt x="848" y="1262"/>
                  </a:lnTo>
                  <a:lnTo>
                    <a:pt x="816" y="1299"/>
                  </a:lnTo>
                  <a:lnTo>
                    <a:pt x="780" y="1332"/>
                  </a:lnTo>
                  <a:lnTo>
                    <a:pt x="739" y="1362"/>
                  </a:lnTo>
                  <a:lnTo>
                    <a:pt x="695" y="1388"/>
                  </a:lnTo>
                  <a:lnTo>
                    <a:pt x="649" y="1408"/>
                  </a:lnTo>
                  <a:lnTo>
                    <a:pt x="603" y="1421"/>
                  </a:lnTo>
                  <a:lnTo>
                    <a:pt x="558" y="1427"/>
                  </a:lnTo>
                  <a:lnTo>
                    <a:pt x="511" y="1428"/>
                  </a:lnTo>
                  <a:lnTo>
                    <a:pt x="465" y="1421"/>
                  </a:lnTo>
                  <a:lnTo>
                    <a:pt x="419" y="1408"/>
                  </a:lnTo>
                  <a:lnTo>
                    <a:pt x="372" y="1389"/>
                  </a:lnTo>
                  <a:lnTo>
                    <a:pt x="328" y="1363"/>
                  </a:lnTo>
                  <a:lnTo>
                    <a:pt x="287" y="1334"/>
                  </a:lnTo>
                  <a:lnTo>
                    <a:pt x="251" y="1300"/>
                  </a:lnTo>
                  <a:lnTo>
                    <a:pt x="219" y="1264"/>
                  </a:lnTo>
                  <a:lnTo>
                    <a:pt x="189" y="1225"/>
                  </a:lnTo>
                  <a:lnTo>
                    <a:pt x="165" y="1184"/>
                  </a:lnTo>
                  <a:lnTo>
                    <a:pt x="145" y="1144"/>
                  </a:lnTo>
                  <a:lnTo>
                    <a:pt x="127" y="1102"/>
                  </a:lnTo>
                  <a:lnTo>
                    <a:pt x="115" y="1061"/>
                  </a:lnTo>
                  <a:lnTo>
                    <a:pt x="107" y="1022"/>
                  </a:lnTo>
                  <a:lnTo>
                    <a:pt x="98" y="1019"/>
                  </a:lnTo>
                  <a:lnTo>
                    <a:pt x="88" y="1012"/>
                  </a:lnTo>
                  <a:lnTo>
                    <a:pt x="78" y="1003"/>
                  </a:lnTo>
                  <a:lnTo>
                    <a:pt x="66" y="988"/>
                  </a:lnTo>
                  <a:lnTo>
                    <a:pt x="55" y="966"/>
                  </a:lnTo>
                  <a:lnTo>
                    <a:pt x="43" y="941"/>
                  </a:lnTo>
                  <a:lnTo>
                    <a:pt x="31" y="907"/>
                  </a:lnTo>
                  <a:lnTo>
                    <a:pt x="19" y="866"/>
                  </a:lnTo>
                  <a:lnTo>
                    <a:pt x="8" y="828"/>
                  </a:lnTo>
                  <a:lnTo>
                    <a:pt x="2" y="794"/>
                  </a:lnTo>
                  <a:lnTo>
                    <a:pt x="0" y="767"/>
                  </a:lnTo>
                  <a:lnTo>
                    <a:pt x="0" y="744"/>
                  </a:lnTo>
                  <a:lnTo>
                    <a:pt x="2" y="726"/>
                  </a:lnTo>
                  <a:lnTo>
                    <a:pt x="8" y="711"/>
                  </a:lnTo>
                  <a:lnTo>
                    <a:pt x="15" y="700"/>
                  </a:lnTo>
                  <a:lnTo>
                    <a:pt x="23" y="691"/>
                  </a:lnTo>
                  <a:lnTo>
                    <a:pt x="32" y="685"/>
                  </a:lnTo>
                  <a:lnTo>
                    <a:pt x="41" y="683"/>
                  </a:lnTo>
                  <a:lnTo>
                    <a:pt x="52" y="681"/>
                  </a:lnTo>
                  <a:lnTo>
                    <a:pt x="63" y="681"/>
                  </a:lnTo>
                  <a:lnTo>
                    <a:pt x="52" y="648"/>
                  </a:lnTo>
                  <a:lnTo>
                    <a:pt x="45" y="614"/>
                  </a:lnTo>
                  <a:lnTo>
                    <a:pt x="36" y="557"/>
                  </a:lnTo>
                  <a:lnTo>
                    <a:pt x="32" y="504"/>
                  </a:lnTo>
                  <a:lnTo>
                    <a:pt x="35" y="450"/>
                  </a:lnTo>
                  <a:lnTo>
                    <a:pt x="44" y="399"/>
                  </a:lnTo>
                  <a:lnTo>
                    <a:pt x="58" y="354"/>
                  </a:lnTo>
                  <a:lnTo>
                    <a:pt x="74" y="313"/>
                  </a:lnTo>
                  <a:lnTo>
                    <a:pt x="94" y="275"/>
                  </a:lnTo>
                  <a:lnTo>
                    <a:pt x="117" y="238"/>
                  </a:lnTo>
                  <a:lnTo>
                    <a:pt x="142" y="206"/>
                  </a:lnTo>
                  <a:lnTo>
                    <a:pt x="170" y="177"/>
                  </a:lnTo>
                  <a:lnTo>
                    <a:pt x="207" y="142"/>
                  </a:lnTo>
                  <a:lnTo>
                    <a:pt x="246" y="109"/>
                  </a:lnTo>
                  <a:lnTo>
                    <a:pt x="286" y="81"/>
                  </a:lnTo>
                  <a:lnTo>
                    <a:pt x="321" y="58"/>
                  </a:lnTo>
                  <a:lnTo>
                    <a:pt x="359" y="38"/>
                  </a:lnTo>
                  <a:lnTo>
                    <a:pt x="399" y="22"/>
                  </a:lnTo>
                  <a:lnTo>
                    <a:pt x="431" y="12"/>
                  </a:lnTo>
                  <a:lnTo>
                    <a:pt x="466" y="6"/>
                  </a:lnTo>
                  <a:lnTo>
                    <a:pt x="503" y="2"/>
                  </a:lnTo>
                  <a:lnTo>
                    <a:pt x="54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7" name="Group 281">
            <a:extLst>
              <a:ext uri="{FF2B5EF4-FFF2-40B4-BE49-F238E27FC236}">
                <a16:creationId xmlns:a16="http://schemas.microsoft.com/office/drawing/2014/main" id="{0E7AA266-1D5C-4566-92CB-089CFCD76F1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569746" y="4405449"/>
            <a:ext cx="654540" cy="391859"/>
            <a:chOff x="502" y="1554"/>
            <a:chExt cx="907" cy="543"/>
          </a:xfrm>
          <a:solidFill>
            <a:schemeClr val="bg1"/>
          </a:solidFill>
        </p:grpSpPr>
        <p:sp>
          <p:nvSpPr>
            <p:cNvPr id="38" name="Freeform 283">
              <a:extLst>
                <a:ext uri="{FF2B5EF4-FFF2-40B4-BE49-F238E27FC236}">
                  <a16:creationId xmlns:a16="http://schemas.microsoft.com/office/drawing/2014/main" id="{D871C0C9-0493-49D8-BDEB-ECDCD35064FB}"/>
                </a:ext>
              </a:extLst>
            </p:cNvPr>
            <p:cNvSpPr>
              <a:spLocks/>
            </p:cNvSpPr>
            <p:nvPr/>
          </p:nvSpPr>
          <p:spPr bwMode="auto">
            <a:xfrm>
              <a:off x="852" y="1554"/>
              <a:ext cx="207" cy="266"/>
            </a:xfrm>
            <a:custGeom>
              <a:avLst/>
              <a:gdLst>
                <a:gd name="T0" fmla="*/ 414 w 828"/>
                <a:gd name="T1" fmla="*/ 0 h 1062"/>
                <a:gd name="T2" fmla="*/ 429 w 828"/>
                <a:gd name="T3" fmla="*/ 0 h 1062"/>
                <a:gd name="T4" fmla="*/ 458 w 828"/>
                <a:gd name="T5" fmla="*/ 2 h 1062"/>
                <a:gd name="T6" fmla="*/ 495 w 828"/>
                <a:gd name="T7" fmla="*/ 7 h 1062"/>
                <a:gd name="T8" fmla="*/ 539 w 828"/>
                <a:gd name="T9" fmla="*/ 16 h 1062"/>
                <a:gd name="T10" fmla="*/ 588 w 828"/>
                <a:gd name="T11" fmla="*/ 32 h 1062"/>
                <a:gd name="T12" fmla="*/ 637 w 828"/>
                <a:gd name="T13" fmla="*/ 58 h 1062"/>
                <a:gd name="T14" fmla="*/ 686 w 828"/>
                <a:gd name="T15" fmla="*/ 93 h 1062"/>
                <a:gd name="T16" fmla="*/ 731 w 828"/>
                <a:gd name="T17" fmla="*/ 139 h 1062"/>
                <a:gd name="T18" fmla="*/ 770 w 828"/>
                <a:gd name="T19" fmla="*/ 200 h 1062"/>
                <a:gd name="T20" fmla="*/ 800 w 828"/>
                <a:gd name="T21" fmla="*/ 275 h 1062"/>
                <a:gd name="T22" fmla="*/ 820 w 828"/>
                <a:gd name="T23" fmla="*/ 367 h 1062"/>
                <a:gd name="T24" fmla="*/ 824 w 828"/>
                <a:gd name="T25" fmla="*/ 423 h 1062"/>
                <a:gd name="T26" fmla="*/ 826 w 828"/>
                <a:gd name="T27" fmla="*/ 440 h 1062"/>
                <a:gd name="T28" fmla="*/ 827 w 828"/>
                <a:gd name="T29" fmla="*/ 471 h 1062"/>
                <a:gd name="T30" fmla="*/ 828 w 828"/>
                <a:gd name="T31" fmla="*/ 514 h 1062"/>
                <a:gd name="T32" fmla="*/ 826 w 828"/>
                <a:gd name="T33" fmla="*/ 567 h 1062"/>
                <a:gd name="T34" fmla="*/ 820 w 828"/>
                <a:gd name="T35" fmla="*/ 626 h 1062"/>
                <a:gd name="T36" fmla="*/ 810 w 828"/>
                <a:gd name="T37" fmla="*/ 690 h 1062"/>
                <a:gd name="T38" fmla="*/ 795 w 828"/>
                <a:gd name="T39" fmla="*/ 756 h 1062"/>
                <a:gd name="T40" fmla="*/ 772 w 828"/>
                <a:gd name="T41" fmla="*/ 821 h 1062"/>
                <a:gd name="T42" fmla="*/ 740 w 828"/>
                <a:gd name="T43" fmla="*/ 884 h 1062"/>
                <a:gd name="T44" fmla="*/ 699 w 828"/>
                <a:gd name="T45" fmla="*/ 941 h 1062"/>
                <a:gd name="T46" fmla="*/ 647 w 828"/>
                <a:gd name="T47" fmla="*/ 989 h 1062"/>
                <a:gd name="T48" fmla="*/ 584 w 828"/>
                <a:gd name="T49" fmla="*/ 1028 h 1062"/>
                <a:gd name="T50" fmla="*/ 507 w 828"/>
                <a:gd name="T51" fmla="*/ 1052 h 1062"/>
                <a:gd name="T52" fmla="*/ 417 w 828"/>
                <a:gd name="T53" fmla="*/ 1062 h 1062"/>
                <a:gd name="T54" fmla="*/ 363 w 828"/>
                <a:gd name="T55" fmla="*/ 1060 h 1062"/>
                <a:gd name="T56" fmla="*/ 280 w 828"/>
                <a:gd name="T57" fmla="*/ 1042 h 1062"/>
                <a:gd name="T58" fmla="*/ 210 w 828"/>
                <a:gd name="T59" fmla="*/ 1010 h 1062"/>
                <a:gd name="T60" fmla="*/ 152 w 828"/>
                <a:gd name="T61" fmla="*/ 966 h 1062"/>
                <a:gd name="T62" fmla="*/ 107 w 828"/>
                <a:gd name="T63" fmla="*/ 913 h 1062"/>
                <a:gd name="T64" fmla="*/ 71 w 828"/>
                <a:gd name="T65" fmla="*/ 854 h 1062"/>
                <a:gd name="T66" fmla="*/ 44 w 828"/>
                <a:gd name="T67" fmla="*/ 789 h 1062"/>
                <a:gd name="T68" fmla="*/ 24 w 828"/>
                <a:gd name="T69" fmla="*/ 724 h 1062"/>
                <a:gd name="T70" fmla="*/ 11 w 828"/>
                <a:gd name="T71" fmla="*/ 658 h 1062"/>
                <a:gd name="T72" fmla="*/ 4 w 828"/>
                <a:gd name="T73" fmla="*/ 596 h 1062"/>
                <a:gd name="T74" fmla="*/ 0 w 828"/>
                <a:gd name="T75" fmla="*/ 540 h 1062"/>
                <a:gd name="T76" fmla="*/ 0 w 828"/>
                <a:gd name="T77" fmla="*/ 492 h 1062"/>
                <a:gd name="T78" fmla="*/ 1 w 828"/>
                <a:gd name="T79" fmla="*/ 454 h 1062"/>
                <a:gd name="T80" fmla="*/ 2 w 828"/>
                <a:gd name="T81" fmla="*/ 430 h 1062"/>
                <a:gd name="T82" fmla="*/ 3 w 828"/>
                <a:gd name="T83" fmla="*/ 421 h 1062"/>
                <a:gd name="T84" fmla="*/ 15 w 828"/>
                <a:gd name="T85" fmla="*/ 319 h 1062"/>
                <a:gd name="T86" fmla="*/ 41 w 828"/>
                <a:gd name="T87" fmla="*/ 235 h 1062"/>
                <a:gd name="T88" fmla="*/ 76 w 828"/>
                <a:gd name="T89" fmla="*/ 168 h 1062"/>
                <a:gd name="T90" fmla="*/ 119 w 828"/>
                <a:gd name="T91" fmla="*/ 114 h 1062"/>
                <a:gd name="T92" fmla="*/ 166 w 828"/>
                <a:gd name="T93" fmla="*/ 74 h 1062"/>
                <a:gd name="T94" fmla="*/ 216 w 828"/>
                <a:gd name="T95" fmla="*/ 44 h 1062"/>
                <a:gd name="T96" fmla="*/ 265 w 828"/>
                <a:gd name="T97" fmla="*/ 24 h 1062"/>
                <a:gd name="T98" fmla="*/ 312 w 828"/>
                <a:gd name="T99" fmla="*/ 10 h 1062"/>
                <a:gd name="T100" fmla="*/ 352 w 828"/>
                <a:gd name="T101" fmla="*/ 4 h 1062"/>
                <a:gd name="T102" fmla="*/ 385 w 828"/>
                <a:gd name="T103" fmla="*/ 0 h 1062"/>
                <a:gd name="T104" fmla="*/ 407 w 828"/>
                <a:gd name="T105" fmla="*/ 0 h 10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28" h="1062">
                  <a:moveTo>
                    <a:pt x="407" y="0"/>
                  </a:moveTo>
                  <a:lnTo>
                    <a:pt x="414" y="0"/>
                  </a:lnTo>
                  <a:lnTo>
                    <a:pt x="421" y="0"/>
                  </a:lnTo>
                  <a:lnTo>
                    <a:pt x="429" y="0"/>
                  </a:lnTo>
                  <a:lnTo>
                    <a:pt x="443" y="0"/>
                  </a:lnTo>
                  <a:lnTo>
                    <a:pt x="458" y="2"/>
                  </a:lnTo>
                  <a:lnTo>
                    <a:pt x="476" y="4"/>
                  </a:lnTo>
                  <a:lnTo>
                    <a:pt x="495" y="7"/>
                  </a:lnTo>
                  <a:lnTo>
                    <a:pt x="516" y="10"/>
                  </a:lnTo>
                  <a:lnTo>
                    <a:pt x="539" y="16"/>
                  </a:lnTo>
                  <a:lnTo>
                    <a:pt x="562" y="24"/>
                  </a:lnTo>
                  <a:lnTo>
                    <a:pt x="588" y="32"/>
                  </a:lnTo>
                  <a:lnTo>
                    <a:pt x="612" y="44"/>
                  </a:lnTo>
                  <a:lnTo>
                    <a:pt x="637" y="58"/>
                  </a:lnTo>
                  <a:lnTo>
                    <a:pt x="662" y="74"/>
                  </a:lnTo>
                  <a:lnTo>
                    <a:pt x="686" y="93"/>
                  </a:lnTo>
                  <a:lnTo>
                    <a:pt x="709" y="114"/>
                  </a:lnTo>
                  <a:lnTo>
                    <a:pt x="731" y="139"/>
                  </a:lnTo>
                  <a:lnTo>
                    <a:pt x="752" y="168"/>
                  </a:lnTo>
                  <a:lnTo>
                    <a:pt x="770" y="200"/>
                  </a:lnTo>
                  <a:lnTo>
                    <a:pt x="787" y="235"/>
                  </a:lnTo>
                  <a:lnTo>
                    <a:pt x="800" y="275"/>
                  </a:lnTo>
                  <a:lnTo>
                    <a:pt x="811" y="319"/>
                  </a:lnTo>
                  <a:lnTo>
                    <a:pt x="820" y="367"/>
                  </a:lnTo>
                  <a:lnTo>
                    <a:pt x="824" y="421"/>
                  </a:lnTo>
                  <a:lnTo>
                    <a:pt x="824" y="423"/>
                  </a:lnTo>
                  <a:lnTo>
                    <a:pt x="824" y="429"/>
                  </a:lnTo>
                  <a:lnTo>
                    <a:pt x="826" y="440"/>
                  </a:lnTo>
                  <a:lnTo>
                    <a:pt x="827" y="453"/>
                  </a:lnTo>
                  <a:lnTo>
                    <a:pt x="827" y="471"/>
                  </a:lnTo>
                  <a:lnTo>
                    <a:pt x="828" y="492"/>
                  </a:lnTo>
                  <a:lnTo>
                    <a:pt x="828" y="514"/>
                  </a:lnTo>
                  <a:lnTo>
                    <a:pt x="827" y="539"/>
                  </a:lnTo>
                  <a:lnTo>
                    <a:pt x="826" y="567"/>
                  </a:lnTo>
                  <a:lnTo>
                    <a:pt x="823" y="596"/>
                  </a:lnTo>
                  <a:lnTo>
                    <a:pt x="820" y="626"/>
                  </a:lnTo>
                  <a:lnTo>
                    <a:pt x="816" y="658"/>
                  </a:lnTo>
                  <a:lnTo>
                    <a:pt x="810" y="690"/>
                  </a:lnTo>
                  <a:lnTo>
                    <a:pt x="804" y="723"/>
                  </a:lnTo>
                  <a:lnTo>
                    <a:pt x="795" y="756"/>
                  </a:lnTo>
                  <a:lnTo>
                    <a:pt x="784" y="789"/>
                  </a:lnTo>
                  <a:lnTo>
                    <a:pt x="772" y="821"/>
                  </a:lnTo>
                  <a:lnTo>
                    <a:pt x="757" y="853"/>
                  </a:lnTo>
                  <a:lnTo>
                    <a:pt x="740" y="884"/>
                  </a:lnTo>
                  <a:lnTo>
                    <a:pt x="721" y="913"/>
                  </a:lnTo>
                  <a:lnTo>
                    <a:pt x="699" y="941"/>
                  </a:lnTo>
                  <a:lnTo>
                    <a:pt x="675" y="966"/>
                  </a:lnTo>
                  <a:lnTo>
                    <a:pt x="647" y="989"/>
                  </a:lnTo>
                  <a:lnTo>
                    <a:pt x="618" y="1010"/>
                  </a:lnTo>
                  <a:lnTo>
                    <a:pt x="584" y="1028"/>
                  </a:lnTo>
                  <a:lnTo>
                    <a:pt x="548" y="1042"/>
                  </a:lnTo>
                  <a:lnTo>
                    <a:pt x="507" y="1052"/>
                  </a:lnTo>
                  <a:lnTo>
                    <a:pt x="465" y="1060"/>
                  </a:lnTo>
                  <a:lnTo>
                    <a:pt x="417" y="1062"/>
                  </a:lnTo>
                  <a:lnTo>
                    <a:pt x="411" y="1062"/>
                  </a:lnTo>
                  <a:lnTo>
                    <a:pt x="363" y="1060"/>
                  </a:lnTo>
                  <a:lnTo>
                    <a:pt x="319" y="1053"/>
                  </a:lnTo>
                  <a:lnTo>
                    <a:pt x="280" y="1042"/>
                  </a:lnTo>
                  <a:lnTo>
                    <a:pt x="243" y="1028"/>
                  </a:lnTo>
                  <a:lnTo>
                    <a:pt x="210" y="1010"/>
                  </a:lnTo>
                  <a:lnTo>
                    <a:pt x="179" y="989"/>
                  </a:lnTo>
                  <a:lnTo>
                    <a:pt x="152" y="966"/>
                  </a:lnTo>
                  <a:lnTo>
                    <a:pt x="128" y="941"/>
                  </a:lnTo>
                  <a:lnTo>
                    <a:pt x="107" y="913"/>
                  </a:lnTo>
                  <a:lnTo>
                    <a:pt x="87" y="884"/>
                  </a:lnTo>
                  <a:lnTo>
                    <a:pt x="71" y="854"/>
                  </a:lnTo>
                  <a:lnTo>
                    <a:pt x="56" y="822"/>
                  </a:lnTo>
                  <a:lnTo>
                    <a:pt x="44" y="789"/>
                  </a:lnTo>
                  <a:lnTo>
                    <a:pt x="33" y="757"/>
                  </a:lnTo>
                  <a:lnTo>
                    <a:pt x="24" y="724"/>
                  </a:lnTo>
                  <a:lnTo>
                    <a:pt x="18" y="691"/>
                  </a:lnTo>
                  <a:lnTo>
                    <a:pt x="11" y="658"/>
                  </a:lnTo>
                  <a:lnTo>
                    <a:pt x="7" y="627"/>
                  </a:lnTo>
                  <a:lnTo>
                    <a:pt x="4" y="596"/>
                  </a:lnTo>
                  <a:lnTo>
                    <a:pt x="2" y="568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0" y="492"/>
                  </a:lnTo>
                  <a:lnTo>
                    <a:pt x="0" y="471"/>
                  </a:lnTo>
                  <a:lnTo>
                    <a:pt x="1" y="454"/>
                  </a:lnTo>
                  <a:lnTo>
                    <a:pt x="2" y="440"/>
                  </a:lnTo>
                  <a:lnTo>
                    <a:pt x="2" y="430"/>
                  </a:lnTo>
                  <a:lnTo>
                    <a:pt x="3" y="423"/>
                  </a:lnTo>
                  <a:lnTo>
                    <a:pt x="3" y="421"/>
                  </a:lnTo>
                  <a:lnTo>
                    <a:pt x="8" y="367"/>
                  </a:lnTo>
                  <a:lnTo>
                    <a:pt x="15" y="319"/>
                  </a:lnTo>
                  <a:lnTo>
                    <a:pt x="26" y="275"/>
                  </a:lnTo>
                  <a:lnTo>
                    <a:pt x="41" y="235"/>
                  </a:lnTo>
                  <a:lnTo>
                    <a:pt x="57" y="200"/>
                  </a:lnTo>
                  <a:lnTo>
                    <a:pt x="76" y="168"/>
                  </a:lnTo>
                  <a:lnTo>
                    <a:pt x="97" y="139"/>
                  </a:lnTo>
                  <a:lnTo>
                    <a:pt x="119" y="114"/>
                  </a:lnTo>
                  <a:lnTo>
                    <a:pt x="142" y="93"/>
                  </a:lnTo>
                  <a:lnTo>
                    <a:pt x="166" y="74"/>
                  </a:lnTo>
                  <a:lnTo>
                    <a:pt x="190" y="58"/>
                  </a:lnTo>
                  <a:lnTo>
                    <a:pt x="216" y="44"/>
                  </a:lnTo>
                  <a:lnTo>
                    <a:pt x="240" y="32"/>
                  </a:lnTo>
                  <a:lnTo>
                    <a:pt x="265" y="24"/>
                  </a:lnTo>
                  <a:lnTo>
                    <a:pt x="288" y="16"/>
                  </a:lnTo>
                  <a:lnTo>
                    <a:pt x="312" y="10"/>
                  </a:lnTo>
                  <a:lnTo>
                    <a:pt x="332" y="7"/>
                  </a:lnTo>
                  <a:lnTo>
                    <a:pt x="352" y="4"/>
                  </a:lnTo>
                  <a:lnTo>
                    <a:pt x="370" y="2"/>
                  </a:lnTo>
                  <a:lnTo>
                    <a:pt x="385" y="0"/>
                  </a:lnTo>
                  <a:lnTo>
                    <a:pt x="397" y="0"/>
                  </a:lnTo>
                  <a:lnTo>
                    <a:pt x="40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284">
              <a:extLst>
                <a:ext uri="{FF2B5EF4-FFF2-40B4-BE49-F238E27FC236}">
                  <a16:creationId xmlns:a16="http://schemas.microsoft.com/office/drawing/2014/main" id="{11CCCBE8-1A04-4CE9-B957-2E94ACFD6B6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" y="1660"/>
              <a:ext cx="166" cy="214"/>
            </a:xfrm>
            <a:custGeom>
              <a:avLst/>
              <a:gdLst>
                <a:gd name="T0" fmla="*/ 333 w 665"/>
                <a:gd name="T1" fmla="*/ 2 h 855"/>
                <a:gd name="T2" fmla="*/ 347 w 665"/>
                <a:gd name="T3" fmla="*/ 2 h 855"/>
                <a:gd name="T4" fmla="*/ 373 w 665"/>
                <a:gd name="T5" fmla="*/ 3 h 855"/>
                <a:gd name="T6" fmla="*/ 408 w 665"/>
                <a:gd name="T7" fmla="*/ 8 h 855"/>
                <a:gd name="T8" fmla="*/ 448 w 665"/>
                <a:gd name="T9" fmla="*/ 18 h 855"/>
                <a:gd name="T10" fmla="*/ 491 w 665"/>
                <a:gd name="T11" fmla="*/ 36 h 855"/>
                <a:gd name="T12" fmla="*/ 535 w 665"/>
                <a:gd name="T13" fmla="*/ 62 h 855"/>
                <a:gd name="T14" fmla="*/ 576 w 665"/>
                <a:gd name="T15" fmla="*/ 100 h 855"/>
                <a:gd name="T16" fmla="*/ 612 w 665"/>
                <a:gd name="T17" fmla="*/ 149 h 855"/>
                <a:gd name="T18" fmla="*/ 641 w 665"/>
                <a:gd name="T19" fmla="*/ 213 h 855"/>
                <a:gd name="T20" fmla="*/ 658 w 665"/>
                <a:gd name="T21" fmla="*/ 293 h 855"/>
                <a:gd name="T22" fmla="*/ 663 w 665"/>
                <a:gd name="T23" fmla="*/ 342 h 855"/>
                <a:gd name="T24" fmla="*/ 664 w 665"/>
                <a:gd name="T25" fmla="*/ 358 h 855"/>
                <a:gd name="T26" fmla="*/ 665 w 665"/>
                <a:gd name="T27" fmla="*/ 389 h 855"/>
                <a:gd name="T28" fmla="*/ 665 w 665"/>
                <a:gd name="T29" fmla="*/ 431 h 855"/>
                <a:gd name="T30" fmla="*/ 662 w 665"/>
                <a:gd name="T31" fmla="*/ 482 h 855"/>
                <a:gd name="T32" fmla="*/ 655 w 665"/>
                <a:gd name="T33" fmla="*/ 537 h 855"/>
                <a:gd name="T34" fmla="*/ 642 w 665"/>
                <a:gd name="T35" fmla="*/ 596 h 855"/>
                <a:gd name="T36" fmla="*/ 623 w 665"/>
                <a:gd name="T37" fmla="*/ 655 h 855"/>
                <a:gd name="T38" fmla="*/ 596 w 665"/>
                <a:gd name="T39" fmla="*/ 711 h 855"/>
                <a:gd name="T40" fmla="*/ 558 w 665"/>
                <a:gd name="T41" fmla="*/ 761 h 855"/>
                <a:gd name="T42" fmla="*/ 511 w 665"/>
                <a:gd name="T43" fmla="*/ 804 h 855"/>
                <a:gd name="T44" fmla="*/ 450 w 665"/>
                <a:gd name="T45" fmla="*/ 835 h 855"/>
                <a:gd name="T46" fmla="*/ 377 w 665"/>
                <a:gd name="T47" fmla="*/ 853 h 855"/>
                <a:gd name="T48" fmla="*/ 331 w 665"/>
                <a:gd name="T49" fmla="*/ 855 h 855"/>
                <a:gd name="T50" fmla="*/ 249 w 665"/>
                <a:gd name="T51" fmla="*/ 846 h 855"/>
                <a:gd name="T52" fmla="*/ 183 w 665"/>
                <a:gd name="T53" fmla="*/ 821 h 855"/>
                <a:gd name="T54" fmla="*/ 129 w 665"/>
                <a:gd name="T55" fmla="*/ 785 h 855"/>
                <a:gd name="T56" fmla="*/ 87 w 665"/>
                <a:gd name="T57" fmla="*/ 737 h 855"/>
                <a:gd name="T58" fmla="*/ 54 w 665"/>
                <a:gd name="T59" fmla="*/ 683 h 855"/>
                <a:gd name="T60" fmla="*/ 31 w 665"/>
                <a:gd name="T61" fmla="*/ 626 h 855"/>
                <a:gd name="T62" fmla="*/ 16 w 665"/>
                <a:gd name="T63" fmla="*/ 567 h 855"/>
                <a:gd name="T64" fmla="*/ 6 w 665"/>
                <a:gd name="T65" fmla="*/ 509 h 855"/>
                <a:gd name="T66" fmla="*/ 1 w 665"/>
                <a:gd name="T67" fmla="*/ 455 h 855"/>
                <a:gd name="T68" fmla="*/ 0 w 665"/>
                <a:gd name="T69" fmla="*/ 409 h 855"/>
                <a:gd name="T70" fmla="*/ 0 w 665"/>
                <a:gd name="T71" fmla="*/ 373 h 855"/>
                <a:gd name="T72" fmla="*/ 1 w 665"/>
                <a:gd name="T73" fmla="*/ 348 h 855"/>
                <a:gd name="T74" fmla="*/ 3 w 665"/>
                <a:gd name="T75" fmla="*/ 340 h 855"/>
                <a:gd name="T76" fmla="*/ 14 w 665"/>
                <a:gd name="T77" fmla="*/ 250 h 855"/>
                <a:gd name="T78" fmla="*/ 38 w 665"/>
                <a:gd name="T79" fmla="*/ 179 h 855"/>
                <a:gd name="T80" fmla="*/ 70 w 665"/>
                <a:gd name="T81" fmla="*/ 123 h 855"/>
                <a:gd name="T82" fmla="*/ 109 w 665"/>
                <a:gd name="T83" fmla="*/ 80 h 855"/>
                <a:gd name="T84" fmla="*/ 152 w 665"/>
                <a:gd name="T85" fmla="*/ 48 h 855"/>
                <a:gd name="T86" fmla="*/ 196 w 665"/>
                <a:gd name="T87" fmla="*/ 26 h 855"/>
                <a:gd name="T88" fmla="*/ 238 w 665"/>
                <a:gd name="T89" fmla="*/ 13 h 855"/>
                <a:gd name="T90" fmla="*/ 275 w 665"/>
                <a:gd name="T91" fmla="*/ 5 h 855"/>
                <a:gd name="T92" fmla="*/ 306 w 665"/>
                <a:gd name="T93" fmla="*/ 2 h 855"/>
                <a:gd name="T94" fmla="*/ 327 w 665"/>
                <a:gd name="T95" fmla="*/ 0 h 8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665" h="855">
                  <a:moveTo>
                    <a:pt x="327" y="0"/>
                  </a:moveTo>
                  <a:lnTo>
                    <a:pt x="333" y="2"/>
                  </a:lnTo>
                  <a:lnTo>
                    <a:pt x="338" y="2"/>
                  </a:lnTo>
                  <a:lnTo>
                    <a:pt x="347" y="2"/>
                  </a:lnTo>
                  <a:lnTo>
                    <a:pt x="359" y="2"/>
                  </a:lnTo>
                  <a:lnTo>
                    <a:pt x="373" y="3"/>
                  </a:lnTo>
                  <a:lnTo>
                    <a:pt x="390" y="5"/>
                  </a:lnTo>
                  <a:lnTo>
                    <a:pt x="408" y="8"/>
                  </a:lnTo>
                  <a:lnTo>
                    <a:pt x="427" y="13"/>
                  </a:lnTo>
                  <a:lnTo>
                    <a:pt x="448" y="18"/>
                  </a:lnTo>
                  <a:lnTo>
                    <a:pt x="469" y="26"/>
                  </a:lnTo>
                  <a:lnTo>
                    <a:pt x="491" y="36"/>
                  </a:lnTo>
                  <a:lnTo>
                    <a:pt x="513" y="48"/>
                  </a:lnTo>
                  <a:lnTo>
                    <a:pt x="535" y="62"/>
                  </a:lnTo>
                  <a:lnTo>
                    <a:pt x="556" y="80"/>
                  </a:lnTo>
                  <a:lnTo>
                    <a:pt x="576" y="100"/>
                  </a:lnTo>
                  <a:lnTo>
                    <a:pt x="596" y="123"/>
                  </a:lnTo>
                  <a:lnTo>
                    <a:pt x="612" y="149"/>
                  </a:lnTo>
                  <a:lnTo>
                    <a:pt x="628" y="179"/>
                  </a:lnTo>
                  <a:lnTo>
                    <a:pt x="641" y="213"/>
                  </a:lnTo>
                  <a:lnTo>
                    <a:pt x="651" y="250"/>
                  </a:lnTo>
                  <a:lnTo>
                    <a:pt x="658" y="293"/>
                  </a:lnTo>
                  <a:lnTo>
                    <a:pt x="663" y="340"/>
                  </a:lnTo>
                  <a:lnTo>
                    <a:pt x="663" y="342"/>
                  </a:lnTo>
                  <a:lnTo>
                    <a:pt x="663" y="348"/>
                  </a:lnTo>
                  <a:lnTo>
                    <a:pt x="664" y="358"/>
                  </a:lnTo>
                  <a:lnTo>
                    <a:pt x="665" y="372"/>
                  </a:lnTo>
                  <a:lnTo>
                    <a:pt x="665" y="389"/>
                  </a:lnTo>
                  <a:lnTo>
                    <a:pt x="665" y="409"/>
                  </a:lnTo>
                  <a:lnTo>
                    <a:pt x="665" y="431"/>
                  </a:lnTo>
                  <a:lnTo>
                    <a:pt x="664" y="455"/>
                  </a:lnTo>
                  <a:lnTo>
                    <a:pt x="662" y="482"/>
                  </a:lnTo>
                  <a:lnTo>
                    <a:pt x="658" y="508"/>
                  </a:lnTo>
                  <a:lnTo>
                    <a:pt x="655" y="537"/>
                  </a:lnTo>
                  <a:lnTo>
                    <a:pt x="650" y="567"/>
                  </a:lnTo>
                  <a:lnTo>
                    <a:pt x="642" y="596"/>
                  </a:lnTo>
                  <a:lnTo>
                    <a:pt x="633" y="626"/>
                  </a:lnTo>
                  <a:lnTo>
                    <a:pt x="623" y="655"/>
                  </a:lnTo>
                  <a:lnTo>
                    <a:pt x="610" y="683"/>
                  </a:lnTo>
                  <a:lnTo>
                    <a:pt x="596" y="711"/>
                  </a:lnTo>
                  <a:lnTo>
                    <a:pt x="578" y="737"/>
                  </a:lnTo>
                  <a:lnTo>
                    <a:pt x="558" y="761"/>
                  </a:lnTo>
                  <a:lnTo>
                    <a:pt x="536" y="785"/>
                  </a:lnTo>
                  <a:lnTo>
                    <a:pt x="511" y="804"/>
                  </a:lnTo>
                  <a:lnTo>
                    <a:pt x="482" y="821"/>
                  </a:lnTo>
                  <a:lnTo>
                    <a:pt x="450" y="835"/>
                  </a:lnTo>
                  <a:lnTo>
                    <a:pt x="415" y="846"/>
                  </a:lnTo>
                  <a:lnTo>
                    <a:pt x="377" y="853"/>
                  </a:lnTo>
                  <a:lnTo>
                    <a:pt x="335" y="855"/>
                  </a:lnTo>
                  <a:lnTo>
                    <a:pt x="331" y="855"/>
                  </a:lnTo>
                  <a:lnTo>
                    <a:pt x="288" y="853"/>
                  </a:lnTo>
                  <a:lnTo>
                    <a:pt x="249" y="846"/>
                  </a:lnTo>
                  <a:lnTo>
                    <a:pt x="215" y="835"/>
                  </a:lnTo>
                  <a:lnTo>
                    <a:pt x="183" y="821"/>
                  </a:lnTo>
                  <a:lnTo>
                    <a:pt x="154" y="804"/>
                  </a:lnTo>
                  <a:lnTo>
                    <a:pt x="129" y="785"/>
                  </a:lnTo>
                  <a:lnTo>
                    <a:pt x="107" y="761"/>
                  </a:lnTo>
                  <a:lnTo>
                    <a:pt x="87" y="737"/>
                  </a:lnTo>
                  <a:lnTo>
                    <a:pt x="70" y="711"/>
                  </a:lnTo>
                  <a:lnTo>
                    <a:pt x="54" y="683"/>
                  </a:lnTo>
                  <a:lnTo>
                    <a:pt x="42" y="655"/>
                  </a:lnTo>
                  <a:lnTo>
                    <a:pt x="31" y="626"/>
                  </a:lnTo>
                  <a:lnTo>
                    <a:pt x="22" y="596"/>
                  </a:lnTo>
                  <a:lnTo>
                    <a:pt x="16" y="567"/>
                  </a:lnTo>
                  <a:lnTo>
                    <a:pt x="10" y="538"/>
                  </a:lnTo>
                  <a:lnTo>
                    <a:pt x="6" y="509"/>
                  </a:lnTo>
                  <a:lnTo>
                    <a:pt x="4" y="482"/>
                  </a:lnTo>
                  <a:lnTo>
                    <a:pt x="1" y="455"/>
                  </a:lnTo>
                  <a:lnTo>
                    <a:pt x="0" y="431"/>
                  </a:lnTo>
                  <a:lnTo>
                    <a:pt x="0" y="409"/>
                  </a:lnTo>
                  <a:lnTo>
                    <a:pt x="0" y="389"/>
                  </a:lnTo>
                  <a:lnTo>
                    <a:pt x="0" y="373"/>
                  </a:lnTo>
                  <a:lnTo>
                    <a:pt x="1" y="358"/>
                  </a:lnTo>
                  <a:lnTo>
                    <a:pt x="1" y="348"/>
                  </a:lnTo>
                  <a:lnTo>
                    <a:pt x="3" y="342"/>
                  </a:lnTo>
                  <a:lnTo>
                    <a:pt x="3" y="340"/>
                  </a:lnTo>
                  <a:lnTo>
                    <a:pt x="7" y="293"/>
                  </a:lnTo>
                  <a:lnTo>
                    <a:pt x="14" y="250"/>
                  </a:lnTo>
                  <a:lnTo>
                    <a:pt x="25" y="213"/>
                  </a:lnTo>
                  <a:lnTo>
                    <a:pt x="38" y="179"/>
                  </a:lnTo>
                  <a:lnTo>
                    <a:pt x="53" y="149"/>
                  </a:lnTo>
                  <a:lnTo>
                    <a:pt x="70" y="123"/>
                  </a:lnTo>
                  <a:lnTo>
                    <a:pt x="88" y="100"/>
                  </a:lnTo>
                  <a:lnTo>
                    <a:pt x="109" y="80"/>
                  </a:lnTo>
                  <a:lnTo>
                    <a:pt x="130" y="62"/>
                  </a:lnTo>
                  <a:lnTo>
                    <a:pt x="152" y="48"/>
                  </a:lnTo>
                  <a:lnTo>
                    <a:pt x="174" y="36"/>
                  </a:lnTo>
                  <a:lnTo>
                    <a:pt x="196" y="26"/>
                  </a:lnTo>
                  <a:lnTo>
                    <a:pt x="217" y="18"/>
                  </a:lnTo>
                  <a:lnTo>
                    <a:pt x="238" y="13"/>
                  </a:lnTo>
                  <a:lnTo>
                    <a:pt x="258" y="8"/>
                  </a:lnTo>
                  <a:lnTo>
                    <a:pt x="275" y="5"/>
                  </a:lnTo>
                  <a:lnTo>
                    <a:pt x="292" y="3"/>
                  </a:lnTo>
                  <a:lnTo>
                    <a:pt x="306" y="2"/>
                  </a:lnTo>
                  <a:lnTo>
                    <a:pt x="318" y="0"/>
                  </a:lnTo>
                  <a:lnTo>
                    <a:pt x="3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285">
              <a:extLst>
                <a:ext uri="{FF2B5EF4-FFF2-40B4-BE49-F238E27FC236}">
                  <a16:creationId xmlns:a16="http://schemas.microsoft.com/office/drawing/2014/main" id="{2B6244CA-02A0-4581-966D-33D36663F160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" y="1846"/>
              <a:ext cx="907" cy="251"/>
            </a:xfrm>
            <a:custGeom>
              <a:avLst/>
              <a:gdLst>
                <a:gd name="T0" fmla="*/ 1830 w 3630"/>
                <a:gd name="T1" fmla="*/ 0 h 1001"/>
                <a:gd name="T2" fmla="*/ 1872 w 3630"/>
                <a:gd name="T3" fmla="*/ 9 h 1001"/>
                <a:gd name="T4" fmla="*/ 1914 w 3630"/>
                <a:gd name="T5" fmla="*/ 36 h 1001"/>
                <a:gd name="T6" fmla="*/ 1932 w 3630"/>
                <a:gd name="T7" fmla="*/ 91 h 1001"/>
                <a:gd name="T8" fmla="*/ 1902 w 3630"/>
                <a:gd name="T9" fmla="*/ 184 h 1001"/>
                <a:gd name="T10" fmla="*/ 2122 w 3630"/>
                <a:gd name="T11" fmla="*/ 0 h 1001"/>
                <a:gd name="T12" fmla="*/ 2163 w 3630"/>
                <a:gd name="T13" fmla="*/ 21 h 1001"/>
                <a:gd name="T14" fmla="*/ 2265 w 3630"/>
                <a:gd name="T15" fmla="*/ 74 h 1001"/>
                <a:gd name="T16" fmla="*/ 2404 w 3630"/>
                <a:gd name="T17" fmla="*/ 151 h 1001"/>
                <a:gd name="T18" fmla="*/ 2542 w 3630"/>
                <a:gd name="T19" fmla="*/ 237 h 1001"/>
                <a:gd name="T20" fmla="*/ 2640 w 3630"/>
                <a:gd name="T21" fmla="*/ 217 h 1001"/>
                <a:gd name="T22" fmla="*/ 2682 w 3630"/>
                <a:gd name="T23" fmla="*/ 197 h 1001"/>
                <a:gd name="T24" fmla="*/ 2857 w 3630"/>
                <a:gd name="T25" fmla="*/ 340 h 1001"/>
                <a:gd name="T26" fmla="*/ 2835 w 3630"/>
                <a:gd name="T27" fmla="*/ 261 h 1001"/>
                <a:gd name="T28" fmla="*/ 2857 w 3630"/>
                <a:gd name="T29" fmla="*/ 218 h 1001"/>
                <a:gd name="T30" fmla="*/ 2897 w 3630"/>
                <a:gd name="T31" fmla="*/ 200 h 1001"/>
                <a:gd name="T32" fmla="*/ 2928 w 3630"/>
                <a:gd name="T33" fmla="*/ 197 h 1001"/>
                <a:gd name="T34" fmla="*/ 2951 w 3630"/>
                <a:gd name="T35" fmla="*/ 199 h 1001"/>
                <a:gd name="T36" fmla="*/ 2990 w 3630"/>
                <a:gd name="T37" fmla="*/ 211 h 1001"/>
                <a:gd name="T38" fmla="*/ 3020 w 3630"/>
                <a:gd name="T39" fmla="*/ 248 h 1001"/>
                <a:gd name="T40" fmla="*/ 3011 w 3630"/>
                <a:gd name="T41" fmla="*/ 317 h 1001"/>
                <a:gd name="T42" fmla="*/ 3042 w 3630"/>
                <a:gd name="T43" fmla="*/ 619 h 1001"/>
                <a:gd name="T44" fmla="*/ 3196 w 3630"/>
                <a:gd name="T45" fmla="*/ 208 h 1001"/>
                <a:gd name="T46" fmla="*/ 3278 w 3630"/>
                <a:gd name="T47" fmla="*/ 250 h 1001"/>
                <a:gd name="T48" fmla="*/ 3395 w 3630"/>
                <a:gd name="T49" fmla="*/ 315 h 1001"/>
                <a:gd name="T50" fmla="*/ 3526 w 3630"/>
                <a:gd name="T51" fmla="*/ 396 h 1001"/>
                <a:gd name="T52" fmla="*/ 3608 w 3630"/>
                <a:gd name="T53" fmla="*/ 500 h 1001"/>
                <a:gd name="T54" fmla="*/ 3629 w 3630"/>
                <a:gd name="T55" fmla="*/ 630 h 1001"/>
                <a:gd name="T56" fmla="*/ 2 w 3630"/>
                <a:gd name="T57" fmla="*/ 594 h 1001"/>
                <a:gd name="T58" fmla="*/ 34 w 3630"/>
                <a:gd name="T59" fmla="*/ 471 h 1001"/>
                <a:gd name="T60" fmla="*/ 136 w 3630"/>
                <a:gd name="T61" fmla="*/ 371 h 1001"/>
                <a:gd name="T62" fmla="*/ 265 w 3630"/>
                <a:gd name="T63" fmla="*/ 296 h 1001"/>
                <a:gd name="T64" fmla="*/ 375 w 3630"/>
                <a:gd name="T65" fmla="*/ 236 h 1001"/>
                <a:gd name="T66" fmla="*/ 444 w 3630"/>
                <a:gd name="T67" fmla="*/ 201 h 1001"/>
                <a:gd name="T68" fmla="*/ 664 w 3630"/>
                <a:gd name="T69" fmla="*/ 398 h 1001"/>
                <a:gd name="T70" fmla="*/ 610 w 3630"/>
                <a:gd name="T71" fmla="*/ 295 h 1001"/>
                <a:gd name="T72" fmla="*/ 614 w 3630"/>
                <a:gd name="T73" fmla="*/ 236 h 1001"/>
                <a:gd name="T74" fmla="*/ 648 w 3630"/>
                <a:gd name="T75" fmla="*/ 207 h 1001"/>
                <a:gd name="T76" fmla="*/ 687 w 3630"/>
                <a:gd name="T77" fmla="*/ 198 h 1001"/>
                <a:gd name="T78" fmla="*/ 707 w 3630"/>
                <a:gd name="T79" fmla="*/ 197 h 1001"/>
                <a:gd name="T80" fmla="*/ 742 w 3630"/>
                <a:gd name="T81" fmla="*/ 204 h 1001"/>
                <a:gd name="T82" fmla="*/ 779 w 3630"/>
                <a:gd name="T83" fmla="*/ 226 h 1001"/>
                <a:gd name="T84" fmla="*/ 794 w 3630"/>
                <a:gd name="T85" fmla="*/ 277 h 1001"/>
                <a:gd name="T86" fmla="*/ 756 w 3630"/>
                <a:gd name="T87" fmla="*/ 368 h 1001"/>
                <a:gd name="T88" fmla="*/ 950 w 3630"/>
                <a:gd name="T89" fmla="*/ 198 h 1001"/>
                <a:gd name="T90" fmla="*/ 1010 w 3630"/>
                <a:gd name="T91" fmla="*/ 229 h 1001"/>
                <a:gd name="T92" fmla="*/ 1115 w 3630"/>
                <a:gd name="T93" fmla="*/ 218 h 1001"/>
                <a:gd name="T94" fmla="*/ 1265 w 3630"/>
                <a:gd name="T95" fmla="*/ 130 h 1001"/>
                <a:gd name="T96" fmla="*/ 1397 w 3630"/>
                <a:gd name="T97" fmla="*/ 58 h 1001"/>
                <a:gd name="T98" fmla="*/ 1486 w 3630"/>
                <a:gd name="T99" fmla="*/ 12 h 1001"/>
                <a:gd name="T100" fmla="*/ 1674 w 3630"/>
                <a:gd name="T101" fmla="*/ 523 h 1001"/>
                <a:gd name="T102" fmla="*/ 1716 w 3630"/>
                <a:gd name="T103" fmla="*/ 156 h 1001"/>
                <a:gd name="T104" fmla="*/ 1699 w 3630"/>
                <a:gd name="T105" fmla="*/ 74 h 1001"/>
                <a:gd name="T106" fmla="*/ 1726 w 3630"/>
                <a:gd name="T107" fmla="*/ 26 h 1001"/>
                <a:gd name="T108" fmla="*/ 1770 w 3630"/>
                <a:gd name="T109" fmla="*/ 5 h 1001"/>
                <a:gd name="T110" fmla="*/ 1808 w 3630"/>
                <a:gd name="T111" fmla="*/ 0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630" h="1001">
                  <a:moveTo>
                    <a:pt x="1815" y="0"/>
                  </a:moveTo>
                  <a:lnTo>
                    <a:pt x="1816" y="0"/>
                  </a:lnTo>
                  <a:lnTo>
                    <a:pt x="1823" y="0"/>
                  </a:lnTo>
                  <a:lnTo>
                    <a:pt x="1830" y="0"/>
                  </a:lnTo>
                  <a:lnTo>
                    <a:pt x="1839" y="1"/>
                  </a:lnTo>
                  <a:lnTo>
                    <a:pt x="1850" y="3"/>
                  </a:lnTo>
                  <a:lnTo>
                    <a:pt x="1861" y="5"/>
                  </a:lnTo>
                  <a:lnTo>
                    <a:pt x="1872" y="9"/>
                  </a:lnTo>
                  <a:lnTo>
                    <a:pt x="1884" y="14"/>
                  </a:lnTo>
                  <a:lnTo>
                    <a:pt x="1895" y="20"/>
                  </a:lnTo>
                  <a:lnTo>
                    <a:pt x="1905" y="26"/>
                  </a:lnTo>
                  <a:lnTo>
                    <a:pt x="1914" y="36"/>
                  </a:lnTo>
                  <a:lnTo>
                    <a:pt x="1922" y="46"/>
                  </a:lnTo>
                  <a:lnTo>
                    <a:pt x="1927" y="59"/>
                  </a:lnTo>
                  <a:lnTo>
                    <a:pt x="1932" y="74"/>
                  </a:lnTo>
                  <a:lnTo>
                    <a:pt x="1932" y="91"/>
                  </a:lnTo>
                  <a:lnTo>
                    <a:pt x="1929" y="110"/>
                  </a:lnTo>
                  <a:lnTo>
                    <a:pt x="1924" y="132"/>
                  </a:lnTo>
                  <a:lnTo>
                    <a:pt x="1915" y="156"/>
                  </a:lnTo>
                  <a:lnTo>
                    <a:pt x="1902" y="184"/>
                  </a:lnTo>
                  <a:lnTo>
                    <a:pt x="1883" y="215"/>
                  </a:lnTo>
                  <a:lnTo>
                    <a:pt x="1861" y="249"/>
                  </a:lnTo>
                  <a:lnTo>
                    <a:pt x="1957" y="523"/>
                  </a:lnTo>
                  <a:lnTo>
                    <a:pt x="2122" y="0"/>
                  </a:lnTo>
                  <a:lnTo>
                    <a:pt x="2125" y="2"/>
                  </a:lnTo>
                  <a:lnTo>
                    <a:pt x="2133" y="5"/>
                  </a:lnTo>
                  <a:lnTo>
                    <a:pt x="2145" y="12"/>
                  </a:lnTo>
                  <a:lnTo>
                    <a:pt x="2163" y="21"/>
                  </a:lnTo>
                  <a:lnTo>
                    <a:pt x="2183" y="31"/>
                  </a:lnTo>
                  <a:lnTo>
                    <a:pt x="2207" y="44"/>
                  </a:lnTo>
                  <a:lnTo>
                    <a:pt x="2234" y="58"/>
                  </a:lnTo>
                  <a:lnTo>
                    <a:pt x="2265" y="74"/>
                  </a:lnTo>
                  <a:lnTo>
                    <a:pt x="2297" y="91"/>
                  </a:lnTo>
                  <a:lnTo>
                    <a:pt x="2331" y="110"/>
                  </a:lnTo>
                  <a:lnTo>
                    <a:pt x="2366" y="130"/>
                  </a:lnTo>
                  <a:lnTo>
                    <a:pt x="2404" y="151"/>
                  </a:lnTo>
                  <a:lnTo>
                    <a:pt x="2440" y="173"/>
                  </a:lnTo>
                  <a:lnTo>
                    <a:pt x="2479" y="195"/>
                  </a:lnTo>
                  <a:lnTo>
                    <a:pt x="2516" y="218"/>
                  </a:lnTo>
                  <a:lnTo>
                    <a:pt x="2542" y="237"/>
                  </a:lnTo>
                  <a:lnTo>
                    <a:pt x="2568" y="255"/>
                  </a:lnTo>
                  <a:lnTo>
                    <a:pt x="2595" y="241"/>
                  </a:lnTo>
                  <a:lnTo>
                    <a:pt x="2619" y="228"/>
                  </a:lnTo>
                  <a:lnTo>
                    <a:pt x="2640" y="217"/>
                  </a:lnTo>
                  <a:lnTo>
                    <a:pt x="2658" y="208"/>
                  </a:lnTo>
                  <a:lnTo>
                    <a:pt x="2671" y="203"/>
                  </a:lnTo>
                  <a:lnTo>
                    <a:pt x="2679" y="198"/>
                  </a:lnTo>
                  <a:lnTo>
                    <a:pt x="2682" y="197"/>
                  </a:lnTo>
                  <a:lnTo>
                    <a:pt x="2815" y="618"/>
                  </a:lnTo>
                  <a:lnTo>
                    <a:pt x="2892" y="398"/>
                  </a:lnTo>
                  <a:lnTo>
                    <a:pt x="2873" y="368"/>
                  </a:lnTo>
                  <a:lnTo>
                    <a:pt x="2857" y="340"/>
                  </a:lnTo>
                  <a:lnTo>
                    <a:pt x="2846" y="317"/>
                  </a:lnTo>
                  <a:lnTo>
                    <a:pt x="2838" y="295"/>
                  </a:lnTo>
                  <a:lnTo>
                    <a:pt x="2835" y="277"/>
                  </a:lnTo>
                  <a:lnTo>
                    <a:pt x="2835" y="261"/>
                  </a:lnTo>
                  <a:lnTo>
                    <a:pt x="2837" y="248"/>
                  </a:lnTo>
                  <a:lnTo>
                    <a:pt x="2843" y="236"/>
                  </a:lnTo>
                  <a:lnTo>
                    <a:pt x="2849" y="226"/>
                  </a:lnTo>
                  <a:lnTo>
                    <a:pt x="2857" y="218"/>
                  </a:lnTo>
                  <a:lnTo>
                    <a:pt x="2867" y="211"/>
                  </a:lnTo>
                  <a:lnTo>
                    <a:pt x="2877" y="207"/>
                  </a:lnTo>
                  <a:lnTo>
                    <a:pt x="2887" y="204"/>
                  </a:lnTo>
                  <a:lnTo>
                    <a:pt x="2897" y="200"/>
                  </a:lnTo>
                  <a:lnTo>
                    <a:pt x="2907" y="199"/>
                  </a:lnTo>
                  <a:lnTo>
                    <a:pt x="2916" y="198"/>
                  </a:lnTo>
                  <a:lnTo>
                    <a:pt x="2922" y="197"/>
                  </a:lnTo>
                  <a:lnTo>
                    <a:pt x="2928" y="197"/>
                  </a:lnTo>
                  <a:lnTo>
                    <a:pt x="2930" y="197"/>
                  </a:lnTo>
                  <a:lnTo>
                    <a:pt x="2934" y="197"/>
                  </a:lnTo>
                  <a:lnTo>
                    <a:pt x="2942" y="198"/>
                  </a:lnTo>
                  <a:lnTo>
                    <a:pt x="2951" y="199"/>
                  </a:lnTo>
                  <a:lnTo>
                    <a:pt x="2960" y="200"/>
                  </a:lnTo>
                  <a:lnTo>
                    <a:pt x="2971" y="204"/>
                  </a:lnTo>
                  <a:lnTo>
                    <a:pt x="2980" y="207"/>
                  </a:lnTo>
                  <a:lnTo>
                    <a:pt x="2990" y="211"/>
                  </a:lnTo>
                  <a:lnTo>
                    <a:pt x="3000" y="218"/>
                  </a:lnTo>
                  <a:lnTo>
                    <a:pt x="3008" y="226"/>
                  </a:lnTo>
                  <a:lnTo>
                    <a:pt x="3015" y="236"/>
                  </a:lnTo>
                  <a:lnTo>
                    <a:pt x="3020" y="248"/>
                  </a:lnTo>
                  <a:lnTo>
                    <a:pt x="3022" y="261"/>
                  </a:lnTo>
                  <a:lnTo>
                    <a:pt x="3022" y="277"/>
                  </a:lnTo>
                  <a:lnTo>
                    <a:pt x="3018" y="295"/>
                  </a:lnTo>
                  <a:lnTo>
                    <a:pt x="3011" y="317"/>
                  </a:lnTo>
                  <a:lnTo>
                    <a:pt x="3000" y="340"/>
                  </a:lnTo>
                  <a:lnTo>
                    <a:pt x="2985" y="368"/>
                  </a:lnTo>
                  <a:lnTo>
                    <a:pt x="2965" y="398"/>
                  </a:lnTo>
                  <a:lnTo>
                    <a:pt x="3042" y="619"/>
                  </a:lnTo>
                  <a:lnTo>
                    <a:pt x="3175" y="197"/>
                  </a:lnTo>
                  <a:lnTo>
                    <a:pt x="3177" y="198"/>
                  </a:lnTo>
                  <a:lnTo>
                    <a:pt x="3185" y="203"/>
                  </a:lnTo>
                  <a:lnTo>
                    <a:pt x="3196" y="208"/>
                  </a:lnTo>
                  <a:lnTo>
                    <a:pt x="3212" y="216"/>
                  </a:lnTo>
                  <a:lnTo>
                    <a:pt x="3231" y="226"/>
                  </a:lnTo>
                  <a:lnTo>
                    <a:pt x="3253" y="237"/>
                  </a:lnTo>
                  <a:lnTo>
                    <a:pt x="3278" y="250"/>
                  </a:lnTo>
                  <a:lnTo>
                    <a:pt x="3305" y="264"/>
                  </a:lnTo>
                  <a:lnTo>
                    <a:pt x="3334" y="280"/>
                  </a:lnTo>
                  <a:lnTo>
                    <a:pt x="3363" y="296"/>
                  </a:lnTo>
                  <a:lnTo>
                    <a:pt x="3395" y="315"/>
                  </a:lnTo>
                  <a:lnTo>
                    <a:pt x="3427" y="333"/>
                  </a:lnTo>
                  <a:lnTo>
                    <a:pt x="3459" y="352"/>
                  </a:lnTo>
                  <a:lnTo>
                    <a:pt x="3492" y="372"/>
                  </a:lnTo>
                  <a:lnTo>
                    <a:pt x="3526" y="396"/>
                  </a:lnTo>
                  <a:lnTo>
                    <a:pt x="3554" y="421"/>
                  </a:lnTo>
                  <a:lnTo>
                    <a:pt x="3577" y="446"/>
                  </a:lnTo>
                  <a:lnTo>
                    <a:pt x="3595" y="472"/>
                  </a:lnTo>
                  <a:lnTo>
                    <a:pt x="3608" y="500"/>
                  </a:lnTo>
                  <a:lnTo>
                    <a:pt x="3617" y="530"/>
                  </a:lnTo>
                  <a:lnTo>
                    <a:pt x="3623" y="561"/>
                  </a:lnTo>
                  <a:lnTo>
                    <a:pt x="3626" y="594"/>
                  </a:lnTo>
                  <a:lnTo>
                    <a:pt x="3629" y="630"/>
                  </a:lnTo>
                  <a:lnTo>
                    <a:pt x="3630" y="1001"/>
                  </a:lnTo>
                  <a:lnTo>
                    <a:pt x="0" y="1001"/>
                  </a:lnTo>
                  <a:lnTo>
                    <a:pt x="0" y="629"/>
                  </a:lnTo>
                  <a:lnTo>
                    <a:pt x="2" y="594"/>
                  </a:lnTo>
                  <a:lnTo>
                    <a:pt x="6" y="561"/>
                  </a:lnTo>
                  <a:lnTo>
                    <a:pt x="12" y="529"/>
                  </a:lnTo>
                  <a:lnTo>
                    <a:pt x="21" y="500"/>
                  </a:lnTo>
                  <a:lnTo>
                    <a:pt x="34" y="471"/>
                  </a:lnTo>
                  <a:lnTo>
                    <a:pt x="52" y="445"/>
                  </a:lnTo>
                  <a:lnTo>
                    <a:pt x="74" y="420"/>
                  </a:lnTo>
                  <a:lnTo>
                    <a:pt x="102" y="395"/>
                  </a:lnTo>
                  <a:lnTo>
                    <a:pt x="136" y="371"/>
                  </a:lnTo>
                  <a:lnTo>
                    <a:pt x="168" y="351"/>
                  </a:lnTo>
                  <a:lnTo>
                    <a:pt x="201" y="333"/>
                  </a:lnTo>
                  <a:lnTo>
                    <a:pt x="233" y="314"/>
                  </a:lnTo>
                  <a:lnTo>
                    <a:pt x="265" y="296"/>
                  </a:lnTo>
                  <a:lnTo>
                    <a:pt x="295" y="279"/>
                  </a:lnTo>
                  <a:lnTo>
                    <a:pt x="324" y="263"/>
                  </a:lnTo>
                  <a:lnTo>
                    <a:pt x="351" y="249"/>
                  </a:lnTo>
                  <a:lnTo>
                    <a:pt x="375" y="236"/>
                  </a:lnTo>
                  <a:lnTo>
                    <a:pt x="397" y="225"/>
                  </a:lnTo>
                  <a:lnTo>
                    <a:pt x="417" y="215"/>
                  </a:lnTo>
                  <a:lnTo>
                    <a:pt x="433" y="207"/>
                  </a:lnTo>
                  <a:lnTo>
                    <a:pt x="444" y="201"/>
                  </a:lnTo>
                  <a:lnTo>
                    <a:pt x="451" y="198"/>
                  </a:lnTo>
                  <a:lnTo>
                    <a:pt x="453" y="197"/>
                  </a:lnTo>
                  <a:lnTo>
                    <a:pt x="587" y="618"/>
                  </a:lnTo>
                  <a:lnTo>
                    <a:pt x="664" y="398"/>
                  </a:lnTo>
                  <a:lnTo>
                    <a:pt x="644" y="368"/>
                  </a:lnTo>
                  <a:lnTo>
                    <a:pt x="628" y="340"/>
                  </a:lnTo>
                  <a:lnTo>
                    <a:pt x="617" y="317"/>
                  </a:lnTo>
                  <a:lnTo>
                    <a:pt x="610" y="295"/>
                  </a:lnTo>
                  <a:lnTo>
                    <a:pt x="606" y="277"/>
                  </a:lnTo>
                  <a:lnTo>
                    <a:pt x="606" y="261"/>
                  </a:lnTo>
                  <a:lnTo>
                    <a:pt x="609" y="248"/>
                  </a:lnTo>
                  <a:lnTo>
                    <a:pt x="614" y="236"/>
                  </a:lnTo>
                  <a:lnTo>
                    <a:pt x="621" y="226"/>
                  </a:lnTo>
                  <a:lnTo>
                    <a:pt x="628" y="218"/>
                  </a:lnTo>
                  <a:lnTo>
                    <a:pt x="638" y="211"/>
                  </a:lnTo>
                  <a:lnTo>
                    <a:pt x="648" y="207"/>
                  </a:lnTo>
                  <a:lnTo>
                    <a:pt x="658" y="204"/>
                  </a:lnTo>
                  <a:lnTo>
                    <a:pt x="669" y="200"/>
                  </a:lnTo>
                  <a:lnTo>
                    <a:pt x="678" y="199"/>
                  </a:lnTo>
                  <a:lnTo>
                    <a:pt x="687" y="198"/>
                  </a:lnTo>
                  <a:lnTo>
                    <a:pt x="693" y="197"/>
                  </a:lnTo>
                  <a:lnTo>
                    <a:pt x="699" y="197"/>
                  </a:lnTo>
                  <a:lnTo>
                    <a:pt x="701" y="197"/>
                  </a:lnTo>
                  <a:lnTo>
                    <a:pt x="707" y="197"/>
                  </a:lnTo>
                  <a:lnTo>
                    <a:pt x="713" y="198"/>
                  </a:lnTo>
                  <a:lnTo>
                    <a:pt x="722" y="199"/>
                  </a:lnTo>
                  <a:lnTo>
                    <a:pt x="732" y="200"/>
                  </a:lnTo>
                  <a:lnTo>
                    <a:pt x="742" y="204"/>
                  </a:lnTo>
                  <a:lnTo>
                    <a:pt x="752" y="207"/>
                  </a:lnTo>
                  <a:lnTo>
                    <a:pt x="762" y="211"/>
                  </a:lnTo>
                  <a:lnTo>
                    <a:pt x="772" y="218"/>
                  </a:lnTo>
                  <a:lnTo>
                    <a:pt x="779" y="226"/>
                  </a:lnTo>
                  <a:lnTo>
                    <a:pt x="786" y="236"/>
                  </a:lnTo>
                  <a:lnTo>
                    <a:pt x="791" y="248"/>
                  </a:lnTo>
                  <a:lnTo>
                    <a:pt x="794" y="261"/>
                  </a:lnTo>
                  <a:lnTo>
                    <a:pt x="794" y="277"/>
                  </a:lnTo>
                  <a:lnTo>
                    <a:pt x="790" y="295"/>
                  </a:lnTo>
                  <a:lnTo>
                    <a:pt x="783" y="317"/>
                  </a:lnTo>
                  <a:lnTo>
                    <a:pt x="772" y="340"/>
                  </a:lnTo>
                  <a:lnTo>
                    <a:pt x="756" y="368"/>
                  </a:lnTo>
                  <a:lnTo>
                    <a:pt x="736" y="398"/>
                  </a:lnTo>
                  <a:lnTo>
                    <a:pt x="813" y="618"/>
                  </a:lnTo>
                  <a:lnTo>
                    <a:pt x="947" y="197"/>
                  </a:lnTo>
                  <a:lnTo>
                    <a:pt x="950" y="198"/>
                  </a:lnTo>
                  <a:lnTo>
                    <a:pt x="958" y="203"/>
                  </a:lnTo>
                  <a:lnTo>
                    <a:pt x="971" y="209"/>
                  </a:lnTo>
                  <a:lnTo>
                    <a:pt x="988" y="218"/>
                  </a:lnTo>
                  <a:lnTo>
                    <a:pt x="1010" y="229"/>
                  </a:lnTo>
                  <a:lnTo>
                    <a:pt x="1035" y="241"/>
                  </a:lnTo>
                  <a:lnTo>
                    <a:pt x="1063" y="257"/>
                  </a:lnTo>
                  <a:lnTo>
                    <a:pt x="1087" y="237"/>
                  </a:lnTo>
                  <a:lnTo>
                    <a:pt x="1115" y="218"/>
                  </a:lnTo>
                  <a:lnTo>
                    <a:pt x="1152" y="195"/>
                  </a:lnTo>
                  <a:lnTo>
                    <a:pt x="1191" y="173"/>
                  </a:lnTo>
                  <a:lnTo>
                    <a:pt x="1227" y="151"/>
                  </a:lnTo>
                  <a:lnTo>
                    <a:pt x="1265" y="130"/>
                  </a:lnTo>
                  <a:lnTo>
                    <a:pt x="1300" y="110"/>
                  </a:lnTo>
                  <a:lnTo>
                    <a:pt x="1334" y="91"/>
                  </a:lnTo>
                  <a:lnTo>
                    <a:pt x="1366" y="74"/>
                  </a:lnTo>
                  <a:lnTo>
                    <a:pt x="1397" y="58"/>
                  </a:lnTo>
                  <a:lnTo>
                    <a:pt x="1424" y="44"/>
                  </a:lnTo>
                  <a:lnTo>
                    <a:pt x="1448" y="31"/>
                  </a:lnTo>
                  <a:lnTo>
                    <a:pt x="1468" y="21"/>
                  </a:lnTo>
                  <a:lnTo>
                    <a:pt x="1486" y="12"/>
                  </a:lnTo>
                  <a:lnTo>
                    <a:pt x="1498" y="5"/>
                  </a:lnTo>
                  <a:lnTo>
                    <a:pt x="1506" y="2"/>
                  </a:lnTo>
                  <a:lnTo>
                    <a:pt x="1509" y="0"/>
                  </a:lnTo>
                  <a:lnTo>
                    <a:pt x="1674" y="523"/>
                  </a:lnTo>
                  <a:lnTo>
                    <a:pt x="1770" y="249"/>
                  </a:lnTo>
                  <a:lnTo>
                    <a:pt x="1748" y="215"/>
                  </a:lnTo>
                  <a:lnTo>
                    <a:pt x="1729" y="184"/>
                  </a:lnTo>
                  <a:lnTo>
                    <a:pt x="1716" y="156"/>
                  </a:lnTo>
                  <a:lnTo>
                    <a:pt x="1707" y="132"/>
                  </a:lnTo>
                  <a:lnTo>
                    <a:pt x="1702" y="110"/>
                  </a:lnTo>
                  <a:lnTo>
                    <a:pt x="1699" y="90"/>
                  </a:lnTo>
                  <a:lnTo>
                    <a:pt x="1699" y="74"/>
                  </a:lnTo>
                  <a:lnTo>
                    <a:pt x="1704" y="58"/>
                  </a:lnTo>
                  <a:lnTo>
                    <a:pt x="1709" y="46"/>
                  </a:lnTo>
                  <a:lnTo>
                    <a:pt x="1717" y="35"/>
                  </a:lnTo>
                  <a:lnTo>
                    <a:pt x="1726" y="26"/>
                  </a:lnTo>
                  <a:lnTo>
                    <a:pt x="1736" y="19"/>
                  </a:lnTo>
                  <a:lnTo>
                    <a:pt x="1747" y="13"/>
                  </a:lnTo>
                  <a:lnTo>
                    <a:pt x="1759" y="9"/>
                  </a:lnTo>
                  <a:lnTo>
                    <a:pt x="1770" y="5"/>
                  </a:lnTo>
                  <a:lnTo>
                    <a:pt x="1781" y="3"/>
                  </a:lnTo>
                  <a:lnTo>
                    <a:pt x="1792" y="1"/>
                  </a:lnTo>
                  <a:lnTo>
                    <a:pt x="1801" y="0"/>
                  </a:lnTo>
                  <a:lnTo>
                    <a:pt x="1808" y="0"/>
                  </a:lnTo>
                  <a:lnTo>
                    <a:pt x="18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286">
              <a:extLst>
                <a:ext uri="{FF2B5EF4-FFF2-40B4-BE49-F238E27FC236}">
                  <a16:creationId xmlns:a16="http://schemas.microsoft.com/office/drawing/2014/main" id="{AB7C1BBF-DD74-406C-AE5D-F46F8B83A51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" y="1660"/>
              <a:ext cx="167" cy="214"/>
            </a:xfrm>
            <a:custGeom>
              <a:avLst/>
              <a:gdLst>
                <a:gd name="T0" fmla="*/ 333 w 665"/>
                <a:gd name="T1" fmla="*/ 2 h 855"/>
                <a:gd name="T2" fmla="*/ 347 w 665"/>
                <a:gd name="T3" fmla="*/ 2 h 855"/>
                <a:gd name="T4" fmla="*/ 374 w 665"/>
                <a:gd name="T5" fmla="*/ 3 h 855"/>
                <a:gd name="T6" fmla="*/ 408 w 665"/>
                <a:gd name="T7" fmla="*/ 8 h 855"/>
                <a:gd name="T8" fmla="*/ 448 w 665"/>
                <a:gd name="T9" fmla="*/ 18 h 855"/>
                <a:gd name="T10" fmla="*/ 491 w 665"/>
                <a:gd name="T11" fmla="*/ 36 h 855"/>
                <a:gd name="T12" fmla="*/ 535 w 665"/>
                <a:gd name="T13" fmla="*/ 62 h 855"/>
                <a:gd name="T14" fmla="*/ 576 w 665"/>
                <a:gd name="T15" fmla="*/ 100 h 855"/>
                <a:gd name="T16" fmla="*/ 612 w 665"/>
                <a:gd name="T17" fmla="*/ 149 h 855"/>
                <a:gd name="T18" fmla="*/ 641 w 665"/>
                <a:gd name="T19" fmla="*/ 213 h 855"/>
                <a:gd name="T20" fmla="*/ 659 w 665"/>
                <a:gd name="T21" fmla="*/ 293 h 855"/>
                <a:gd name="T22" fmla="*/ 663 w 665"/>
                <a:gd name="T23" fmla="*/ 342 h 855"/>
                <a:gd name="T24" fmla="*/ 664 w 665"/>
                <a:gd name="T25" fmla="*/ 358 h 855"/>
                <a:gd name="T26" fmla="*/ 665 w 665"/>
                <a:gd name="T27" fmla="*/ 389 h 855"/>
                <a:gd name="T28" fmla="*/ 665 w 665"/>
                <a:gd name="T29" fmla="*/ 431 h 855"/>
                <a:gd name="T30" fmla="*/ 662 w 665"/>
                <a:gd name="T31" fmla="*/ 482 h 855"/>
                <a:gd name="T32" fmla="*/ 655 w 665"/>
                <a:gd name="T33" fmla="*/ 537 h 855"/>
                <a:gd name="T34" fmla="*/ 643 w 665"/>
                <a:gd name="T35" fmla="*/ 596 h 855"/>
                <a:gd name="T36" fmla="*/ 623 w 665"/>
                <a:gd name="T37" fmla="*/ 655 h 855"/>
                <a:gd name="T38" fmla="*/ 596 w 665"/>
                <a:gd name="T39" fmla="*/ 711 h 855"/>
                <a:gd name="T40" fmla="*/ 558 w 665"/>
                <a:gd name="T41" fmla="*/ 761 h 855"/>
                <a:gd name="T42" fmla="*/ 511 w 665"/>
                <a:gd name="T43" fmla="*/ 804 h 855"/>
                <a:gd name="T44" fmla="*/ 451 w 665"/>
                <a:gd name="T45" fmla="*/ 835 h 855"/>
                <a:gd name="T46" fmla="*/ 377 w 665"/>
                <a:gd name="T47" fmla="*/ 853 h 855"/>
                <a:gd name="T48" fmla="*/ 331 w 665"/>
                <a:gd name="T49" fmla="*/ 855 h 855"/>
                <a:gd name="T50" fmla="*/ 250 w 665"/>
                <a:gd name="T51" fmla="*/ 846 h 855"/>
                <a:gd name="T52" fmla="*/ 183 w 665"/>
                <a:gd name="T53" fmla="*/ 821 h 855"/>
                <a:gd name="T54" fmla="*/ 129 w 665"/>
                <a:gd name="T55" fmla="*/ 785 h 855"/>
                <a:gd name="T56" fmla="*/ 87 w 665"/>
                <a:gd name="T57" fmla="*/ 737 h 855"/>
                <a:gd name="T58" fmla="*/ 55 w 665"/>
                <a:gd name="T59" fmla="*/ 683 h 855"/>
                <a:gd name="T60" fmla="*/ 32 w 665"/>
                <a:gd name="T61" fmla="*/ 626 h 855"/>
                <a:gd name="T62" fmla="*/ 16 w 665"/>
                <a:gd name="T63" fmla="*/ 567 h 855"/>
                <a:gd name="T64" fmla="*/ 7 w 665"/>
                <a:gd name="T65" fmla="*/ 509 h 855"/>
                <a:gd name="T66" fmla="*/ 2 w 665"/>
                <a:gd name="T67" fmla="*/ 455 h 855"/>
                <a:gd name="T68" fmla="*/ 0 w 665"/>
                <a:gd name="T69" fmla="*/ 409 h 855"/>
                <a:gd name="T70" fmla="*/ 0 w 665"/>
                <a:gd name="T71" fmla="*/ 373 h 855"/>
                <a:gd name="T72" fmla="*/ 3 w 665"/>
                <a:gd name="T73" fmla="*/ 348 h 855"/>
                <a:gd name="T74" fmla="*/ 3 w 665"/>
                <a:gd name="T75" fmla="*/ 340 h 855"/>
                <a:gd name="T76" fmla="*/ 15 w 665"/>
                <a:gd name="T77" fmla="*/ 250 h 855"/>
                <a:gd name="T78" fmla="*/ 38 w 665"/>
                <a:gd name="T79" fmla="*/ 179 h 855"/>
                <a:gd name="T80" fmla="*/ 70 w 665"/>
                <a:gd name="T81" fmla="*/ 123 h 855"/>
                <a:gd name="T82" fmla="*/ 109 w 665"/>
                <a:gd name="T83" fmla="*/ 80 h 855"/>
                <a:gd name="T84" fmla="*/ 152 w 665"/>
                <a:gd name="T85" fmla="*/ 48 h 855"/>
                <a:gd name="T86" fmla="*/ 196 w 665"/>
                <a:gd name="T87" fmla="*/ 26 h 855"/>
                <a:gd name="T88" fmla="*/ 238 w 665"/>
                <a:gd name="T89" fmla="*/ 13 h 855"/>
                <a:gd name="T90" fmla="*/ 276 w 665"/>
                <a:gd name="T91" fmla="*/ 5 h 855"/>
                <a:gd name="T92" fmla="*/ 306 w 665"/>
                <a:gd name="T93" fmla="*/ 2 h 855"/>
                <a:gd name="T94" fmla="*/ 327 w 665"/>
                <a:gd name="T95" fmla="*/ 0 h 8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665" h="855">
                  <a:moveTo>
                    <a:pt x="327" y="0"/>
                  </a:moveTo>
                  <a:lnTo>
                    <a:pt x="333" y="2"/>
                  </a:lnTo>
                  <a:lnTo>
                    <a:pt x="338" y="2"/>
                  </a:lnTo>
                  <a:lnTo>
                    <a:pt x="347" y="2"/>
                  </a:lnTo>
                  <a:lnTo>
                    <a:pt x="359" y="2"/>
                  </a:lnTo>
                  <a:lnTo>
                    <a:pt x="374" y="3"/>
                  </a:lnTo>
                  <a:lnTo>
                    <a:pt x="390" y="5"/>
                  </a:lnTo>
                  <a:lnTo>
                    <a:pt x="408" y="8"/>
                  </a:lnTo>
                  <a:lnTo>
                    <a:pt x="427" y="13"/>
                  </a:lnTo>
                  <a:lnTo>
                    <a:pt x="448" y="18"/>
                  </a:lnTo>
                  <a:lnTo>
                    <a:pt x="469" y="26"/>
                  </a:lnTo>
                  <a:lnTo>
                    <a:pt x="491" y="36"/>
                  </a:lnTo>
                  <a:lnTo>
                    <a:pt x="513" y="48"/>
                  </a:lnTo>
                  <a:lnTo>
                    <a:pt x="535" y="62"/>
                  </a:lnTo>
                  <a:lnTo>
                    <a:pt x="556" y="80"/>
                  </a:lnTo>
                  <a:lnTo>
                    <a:pt x="576" y="100"/>
                  </a:lnTo>
                  <a:lnTo>
                    <a:pt x="596" y="123"/>
                  </a:lnTo>
                  <a:lnTo>
                    <a:pt x="612" y="149"/>
                  </a:lnTo>
                  <a:lnTo>
                    <a:pt x="628" y="179"/>
                  </a:lnTo>
                  <a:lnTo>
                    <a:pt x="641" y="213"/>
                  </a:lnTo>
                  <a:lnTo>
                    <a:pt x="651" y="250"/>
                  </a:lnTo>
                  <a:lnTo>
                    <a:pt x="659" y="293"/>
                  </a:lnTo>
                  <a:lnTo>
                    <a:pt x="663" y="340"/>
                  </a:lnTo>
                  <a:lnTo>
                    <a:pt x="663" y="342"/>
                  </a:lnTo>
                  <a:lnTo>
                    <a:pt x="663" y="348"/>
                  </a:lnTo>
                  <a:lnTo>
                    <a:pt x="664" y="358"/>
                  </a:lnTo>
                  <a:lnTo>
                    <a:pt x="665" y="372"/>
                  </a:lnTo>
                  <a:lnTo>
                    <a:pt x="665" y="389"/>
                  </a:lnTo>
                  <a:lnTo>
                    <a:pt x="665" y="409"/>
                  </a:lnTo>
                  <a:lnTo>
                    <a:pt x="665" y="431"/>
                  </a:lnTo>
                  <a:lnTo>
                    <a:pt x="664" y="455"/>
                  </a:lnTo>
                  <a:lnTo>
                    <a:pt x="662" y="482"/>
                  </a:lnTo>
                  <a:lnTo>
                    <a:pt x="660" y="508"/>
                  </a:lnTo>
                  <a:lnTo>
                    <a:pt x="655" y="537"/>
                  </a:lnTo>
                  <a:lnTo>
                    <a:pt x="650" y="567"/>
                  </a:lnTo>
                  <a:lnTo>
                    <a:pt x="643" y="596"/>
                  </a:lnTo>
                  <a:lnTo>
                    <a:pt x="634" y="626"/>
                  </a:lnTo>
                  <a:lnTo>
                    <a:pt x="623" y="655"/>
                  </a:lnTo>
                  <a:lnTo>
                    <a:pt x="611" y="683"/>
                  </a:lnTo>
                  <a:lnTo>
                    <a:pt x="596" y="711"/>
                  </a:lnTo>
                  <a:lnTo>
                    <a:pt x="578" y="737"/>
                  </a:lnTo>
                  <a:lnTo>
                    <a:pt x="558" y="761"/>
                  </a:lnTo>
                  <a:lnTo>
                    <a:pt x="536" y="785"/>
                  </a:lnTo>
                  <a:lnTo>
                    <a:pt x="511" y="804"/>
                  </a:lnTo>
                  <a:lnTo>
                    <a:pt x="482" y="821"/>
                  </a:lnTo>
                  <a:lnTo>
                    <a:pt x="451" y="835"/>
                  </a:lnTo>
                  <a:lnTo>
                    <a:pt x="416" y="846"/>
                  </a:lnTo>
                  <a:lnTo>
                    <a:pt x="377" y="853"/>
                  </a:lnTo>
                  <a:lnTo>
                    <a:pt x="335" y="855"/>
                  </a:lnTo>
                  <a:lnTo>
                    <a:pt x="331" y="855"/>
                  </a:lnTo>
                  <a:lnTo>
                    <a:pt x="289" y="853"/>
                  </a:lnTo>
                  <a:lnTo>
                    <a:pt x="250" y="846"/>
                  </a:lnTo>
                  <a:lnTo>
                    <a:pt x="215" y="835"/>
                  </a:lnTo>
                  <a:lnTo>
                    <a:pt x="183" y="821"/>
                  </a:lnTo>
                  <a:lnTo>
                    <a:pt x="154" y="804"/>
                  </a:lnTo>
                  <a:lnTo>
                    <a:pt x="129" y="785"/>
                  </a:lnTo>
                  <a:lnTo>
                    <a:pt x="107" y="761"/>
                  </a:lnTo>
                  <a:lnTo>
                    <a:pt x="87" y="737"/>
                  </a:lnTo>
                  <a:lnTo>
                    <a:pt x="70" y="711"/>
                  </a:lnTo>
                  <a:lnTo>
                    <a:pt x="55" y="683"/>
                  </a:lnTo>
                  <a:lnTo>
                    <a:pt x="42" y="655"/>
                  </a:lnTo>
                  <a:lnTo>
                    <a:pt x="32" y="626"/>
                  </a:lnTo>
                  <a:lnTo>
                    <a:pt x="24" y="596"/>
                  </a:lnTo>
                  <a:lnTo>
                    <a:pt x="16" y="567"/>
                  </a:lnTo>
                  <a:lnTo>
                    <a:pt x="10" y="538"/>
                  </a:lnTo>
                  <a:lnTo>
                    <a:pt x="7" y="509"/>
                  </a:lnTo>
                  <a:lnTo>
                    <a:pt x="4" y="482"/>
                  </a:lnTo>
                  <a:lnTo>
                    <a:pt x="2" y="455"/>
                  </a:lnTo>
                  <a:lnTo>
                    <a:pt x="0" y="431"/>
                  </a:lnTo>
                  <a:lnTo>
                    <a:pt x="0" y="409"/>
                  </a:lnTo>
                  <a:lnTo>
                    <a:pt x="0" y="389"/>
                  </a:lnTo>
                  <a:lnTo>
                    <a:pt x="0" y="373"/>
                  </a:lnTo>
                  <a:lnTo>
                    <a:pt x="2" y="358"/>
                  </a:lnTo>
                  <a:lnTo>
                    <a:pt x="3" y="348"/>
                  </a:lnTo>
                  <a:lnTo>
                    <a:pt x="3" y="342"/>
                  </a:lnTo>
                  <a:lnTo>
                    <a:pt x="3" y="340"/>
                  </a:lnTo>
                  <a:lnTo>
                    <a:pt x="7" y="293"/>
                  </a:lnTo>
                  <a:lnTo>
                    <a:pt x="15" y="250"/>
                  </a:lnTo>
                  <a:lnTo>
                    <a:pt x="25" y="213"/>
                  </a:lnTo>
                  <a:lnTo>
                    <a:pt x="38" y="179"/>
                  </a:lnTo>
                  <a:lnTo>
                    <a:pt x="53" y="149"/>
                  </a:lnTo>
                  <a:lnTo>
                    <a:pt x="70" y="123"/>
                  </a:lnTo>
                  <a:lnTo>
                    <a:pt x="90" y="100"/>
                  </a:lnTo>
                  <a:lnTo>
                    <a:pt x="109" y="80"/>
                  </a:lnTo>
                  <a:lnTo>
                    <a:pt x="130" y="62"/>
                  </a:lnTo>
                  <a:lnTo>
                    <a:pt x="152" y="48"/>
                  </a:lnTo>
                  <a:lnTo>
                    <a:pt x="174" y="36"/>
                  </a:lnTo>
                  <a:lnTo>
                    <a:pt x="196" y="26"/>
                  </a:lnTo>
                  <a:lnTo>
                    <a:pt x="217" y="18"/>
                  </a:lnTo>
                  <a:lnTo>
                    <a:pt x="238" y="13"/>
                  </a:lnTo>
                  <a:lnTo>
                    <a:pt x="258" y="8"/>
                  </a:lnTo>
                  <a:lnTo>
                    <a:pt x="276" y="5"/>
                  </a:lnTo>
                  <a:lnTo>
                    <a:pt x="292" y="3"/>
                  </a:lnTo>
                  <a:lnTo>
                    <a:pt x="306" y="2"/>
                  </a:lnTo>
                  <a:lnTo>
                    <a:pt x="318" y="0"/>
                  </a:lnTo>
                  <a:lnTo>
                    <a:pt x="3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8F5534E6-C6C6-492C-B0E2-2BDA948F2C22}"/>
              </a:ext>
            </a:extLst>
          </p:cNvPr>
          <p:cNvGrpSpPr/>
          <p:nvPr/>
        </p:nvGrpSpPr>
        <p:grpSpPr>
          <a:xfrm rot="16200000">
            <a:off x="797214" y="-332152"/>
            <a:ext cx="208395" cy="1314681"/>
            <a:chOff x="243840" y="162560"/>
            <a:chExt cx="325120" cy="2051050"/>
          </a:xfrm>
        </p:grpSpPr>
        <p:sp>
          <p:nvSpPr>
            <p:cNvPr id="50" name="Rectangle: Rounded Corners 49">
              <a:extLst>
                <a:ext uri="{FF2B5EF4-FFF2-40B4-BE49-F238E27FC236}">
                  <a16:creationId xmlns:a16="http://schemas.microsoft.com/office/drawing/2014/main" id="{31F51417-E35C-4DCE-AC83-E024E9BE5180}"/>
                </a:ext>
              </a:extLst>
            </p:cNvPr>
            <p:cNvSpPr/>
            <p:nvPr/>
          </p:nvSpPr>
          <p:spPr>
            <a:xfrm>
              <a:off x="243840" y="162560"/>
              <a:ext cx="325120" cy="1097280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" name="Rectangle: Rounded Corners 50">
              <a:extLst>
                <a:ext uri="{FF2B5EF4-FFF2-40B4-BE49-F238E27FC236}">
                  <a16:creationId xmlns:a16="http://schemas.microsoft.com/office/drawing/2014/main" id="{E83BB10E-8275-4B92-84DF-0E8B51BF4225}"/>
                </a:ext>
              </a:extLst>
            </p:cNvPr>
            <p:cNvSpPr/>
            <p:nvPr/>
          </p:nvSpPr>
          <p:spPr>
            <a:xfrm>
              <a:off x="243840" y="1324610"/>
              <a:ext cx="325120" cy="508000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2" name="Rectangle: Rounded Corners 51">
              <a:extLst>
                <a:ext uri="{FF2B5EF4-FFF2-40B4-BE49-F238E27FC236}">
                  <a16:creationId xmlns:a16="http://schemas.microsoft.com/office/drawing/2014/main" id="{BBE8CD8F-B64E-4412-8BA8-21ED67AAEB52}"/>
                </a:ext>
              </a:extLst>
            </p:cNvPr>
            <p:cNvSpPr/>
            <p:nvPr/>
          </p:nvSpPr>
          <p:spPr>
            <a:xfrm>
              <a:off x="243840" y="1897380"/>
              <a:ext cx="325120" cy="316230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6" name="TextBox 55">
            <a:extLst>
              <a:ext uri="{FF2B5EF4-FFF2-40B4-BE49-F238E27FC236}">
                <a16:creationId xmlns:a16="http://schemas.microsoft.com/office/drawing/2014/main" id="{005D0080-9833-41EB-81F4-385FDF45ECC8}"/>
              </a:ext>
            </a:extLst>
          </p:cNvPr>
          <p:cNvSpPr txBox="1"/>
          <p:nvPr/>
        </p:nvSpPr>
        <p:spPr>
          <a:xfrm>
            <a:off x="1611735" y="-24385"/>
            <a:ext cx="781701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i="1" dirty="0">
                <a:latin typeface="Segoe UI" panose="020B0502040204020203" pitchFamily="34" charset="0"/>
                <a:cs typeface="Segoe UI" panose="020B0502040204020203" pitchFamily="34" charset="0"/>
              </a:rPr>
              <a:t>Create </a:t>
            </a:r>
            <a:r>
              <a:rPr lang="en-US" sz="3600" b="1" i="1" dirty="0">
                <a:solidFill>
                  <a:schemeClr val="accent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ocker (</a:t>
            </a:r>
            <a:r>
              <a:rPr lang="en-US" sz="3600" b="1" i="1" dirty="0" err="1">
                <a:solidFill>
                  <a:schemeClr val="accent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irflow,MySQL,PostgreSQL</a:t>
            </a:r>
            <a:r>
              <a:rPr lang="en-US" sz="3600" b="1" i="1" dirty="0">
                <a:solidFill>
                  <a:schemeClr val="accent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)</a:t>
            </a:r>
            <a:endParaRPr lang="id-ID" sz="3600" b="1" i="1" dirty="0">
              <a:solidFill>
                <a:schemeClr val="accent4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E5D42E17-6F27-4DE3-B193-3557435E2E93}"/>
              </a:ext>
            </a:extLst>
          </p:cNvPr>
          <p:cNvGrpSpPr/>
          <p:nvPr/>
        </p:nvGrpSpPr>
        <p:grpSpPr>
          <a:xfrm rot="10800000">
            <a:off x="11739534" y="5342648"/>
            <a:ext cx="208395" cy="1314681"/>
            <a:chOff x="243840" y="162560"/>
            <a:chExt cx="325120" cy="2051050"/>
          </a:xfrm>
        </p:grpSpPr>
        <p:sp>
          <p:nvSpPr>
            <p:cNvPr id="59" name="Rectangle: Rounded Corners 58">
              <a:extLst>
                <a:ext uri="{FF2B5EF4-FFF2-40B4-BE49-F238E27FC236}">
                  <a16:creationId xmlns:a16="http://schemas.microsoft.com/office/drawing/2014/main" id="{11B30036-173D-4232-9424-A03A6A4FB016}"/>
                </a:ext>
              </a:extLst>
            </p:cNvPr>
            <p:cNvSpPr/>
            <p:nvPr/>
          </p:nvSpPr>
          <p:spPr>
            <a:xfrm>
              <a:off x="243840" y="162560"/>
              <a:ext cx="325120" cy="1097280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4" name="Rectangle: Rounded Corners 63">
              <a:extLst>
                <a:ext uri="{FF2B5EF4-FFF2-40B4-BE49-F238E27FC236}">
                  <a16:creationId xmlns:a16="http://schemas.microsoft.com/office/drawing/2014/main" id="{295D37FA-2DD0-489B-8908-D392794996BC}"/>
                </a:ext>
              </a:extLst>
            </p:cNvPr>
            <p:cNvSpPr/>
            <p:nvPr/>
          </p:nvSpPr>
          <p:spPr>
            <a:xfrm>
              <a:off x="243840" y="1324610"/>
              <a:ext cx="325120" cy="508000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5" name="Rectangle: Rounded Corners 64">
              <a:extLst>
                <a:ext uri="{FF2B5EF4-FFF2-40B4-BE49-F238E27FC236}">
                  <a16:creationId xmlns:a16="http://schemas.microsoft.com/office/drawing/2014/main" id="{4929B9B3-D856-43DB-9407-44311FE8300D}"/>
                </a:ext>
              </a:extLst>
            </p:cNvPr>
            <p:cNvSpPr/>
            <p:nvPr/>
          </p:nvSpPr>
          <p:spPr>
            <a:xfrm>
              <a:off x="243840" y="1897380"/>
              <a:ext cx="325120" cy="316230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66" name="Gambar 65">
            <a:extLst>
              <a:ext uri="{FF2B5EF4-FFF2-40B4-BE49-F238E27FC236}">
                <a16:creationId xmlns:a16="http://schemas.microsoft.com/office/drawing/2014/main" id="{8D0D1C63-8CBD-87A8-963F-CE1519DFE5B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714" y="1245666"/>
            <a:ext cx="5978836" cy="536643"/>
          </a:xfrm>
          <a:prstGeom prst="rect">
            <a:avLst/>
          </a:prstGeom>
        </p:spPr>
      </p:pic>
      <p:pic>
        <p:nvPicPr>
          <p:cNvPr id="67" name="Gambar 66">
            <a:extLst>
              <a:ext uri="{FF2B5EF4-FFF2-40B4-BE49-F238E27FC236}">
                <a16:creationId xmlns:a16="http://schemas.microsoft.com/office/drawing/2014/main" id="{E4F7C607-574B-BD39-F587-BF671AFBDB9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7688" y="1852031"/>
            <a:ext cx="5112951" cy="3977710"/>
          </a:xfrm>
          <a:prstGeom prst="rect">
            <a:avLst/>
          </a:prstGeom>
        </p:spPr>
      </p:pic>
      <p:pic>
        <p:nvPicPr>
          <p:cNvPr id="68" name="Gambar 67">
            <a:extLst>
              <a:ext uri="{FF2B5EF4-FFF2-40B4-BE49-F238E27FC236}">
                <a16:creationId xmlns:a16="http://schemas.microsoft.com/office/drawing/2014/main" id="{0537C1D1-CE9D-49C2-5BE0-C2B5DFFAFB3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61507" y="1782309"/>
            <a:ext cx="4521636" cy="3995678"/>
          </a:xfrm>
          <a:prstGeom prst="rect">
            <a:avLst/>
          </a:prstGeom>
        </p:spPr>
      </p:pic>
      <p:pic>
        <p:nvPicPr>
          <p:cNvPr id="4" name="Gambar 3">
            <a:extLst>
              <a:ext uri="{FF2B5EF4-FFF2-40B4-BE49-F238E27FC236}">
                <a16:creationId xmlns:a16="http://schemas.microsoft.com/office/drawing/2014/main" id="{C8941B18-AF08-7A2E-BC7B-D2851C547A7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66533" y="6029004"/>
            <a:ext cx="8458933" cy="762066"/>
          </a:xfrm>
          <a:prstGeom prst="rect">
            <a:avLst/>
          </a:prstGeom>
        </p:spPr>
      </p:pic>
      <p:sp>
        <p:nvSpPr>
          <p:cNvPr id="69" name="Rectangle 25">
            <a:extLst>
              <a:ext uri="{FF2B5EF4-FFF2-40B4-BE49-F238E27FC236}">
                <a16:creationId xmlns:a16="http://schemas.microsoft.com/office/drawing/2014/main" id="{CF51475A-6654-B54C-4F87-620BA734048D}"/>
              </a:ext>
            </a:extLst>
          </p:cNvPr>
          <p:cNvSpPr/>
          <p:nvPr/>
        </p:nvSpPr>
        <p:spPr>
          <a:xfrm>
            <a:off x="161037" y="6374139"/>
            <a:ext cx="1671091" cy="2965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sz="1200" b="1" dirty="0">
                <a:solidFill>
                  <a:schemeClr val="tx2">
                    <a:lumMod val="50000"/>
                  </a:schemeClr>
                </a:solidFill>
                <a:latin typeface="Montserrat" panose="00000500000000000000" pitchFamily="50" charset="0"/>
                <a:cs typeface="Segoe UI" panose="020B0502040204020203" pitchFamily="34" charset="0"/>
              </a:rPr>
              <a:t>#AYOPAKAIDATA</a:t>
            </a:r>
          </a:p>
        </p:txBody>
      </p:sp>
    </p:spTree>
    <p:extLst>
      <p:ext uri="{BB962C8B-B14F-4D97-AF65-F5344CB8AC3E}">
        <p14:creationId xmlns:p14="http://schemas.microsoft.com/office/powerpoint/2010/main" val="4004453715"/>
      </p:ext>
    </p:extLst>
  </p:cSld>
  <p:clrMapOvr>
    <a:masterClrMapping/>
  </p:clrMapOvr>
  <p:transition spd="slow">
    <p:wip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439D2910-56F7-4FFB-B47C-FD66E2D614DA}"/>
              </a:ext>
            </a:extLst>
          </p:cNvPr>
          <p:cNvSpPr/>
          <p:nvPr/>
        </p:nvSpPr>
        <p:spPr>
          <a:xfrm rot="18268078" flipH="1">
            <a:off x="4118424" y="-409762"/>
            <a:ext cx="8138260" cy="8531201"/>
          </a:xfrm>
          <a:custGeom>
            <a:avLst/>
            <a:gdLst>
              <a:gd name="connsiteX0" fmla="*/ 2331259 w 8138260"/>
              <a:gd name="connsiteY0" fmla="*/ 0 h 8531201"/>
              <a:gd name="connsiteX1" fmla="*/ 143907 w 8138260"/>
              <a:gd name="connsiteY1" fmla="*/ 3186432 h 8531201"/>
              <a:gd name="connsiteX2" fmla="*/ 148474 w 8138260"/>
              <a:gd name="connsiteY2" fmla="*/ 3239061 h 8531201"/>
              <a:gd name="connsiteX3" fmla="*/ 31713 w 8138260"/>
              <a:gd name="connsiteY3" fmla="*/ 5422036 h 8531201"/>
              <a:gd name="connsiteX4" fmla="*/ 1119355 w 8138260"/>
              <a:gd name="connsiteY4" fmla="*/ 7031293 h 8531201"/>
              <a:gd name="connsiteX5" fmla="*/ 3280236 w 8138260"/>
              <a:gd name="connsiteY5" fmla="*/ 7755316 h 8531201"/>
              <a:gd name="connsiteX6" fmla="*/ 4652225 w 8138260"/>
              <a:gd name="connsiteY6" fmla="*/ 8464048 h 8531201"/>
              <a:gd name="connsiteX7" fmla="*/ 4793292 w 8138260"/>
              <a:gd name="connsiteY7" fmla="*/ 8531201 h 8531201"/>
              <a:gd name="connsiteX8" fmla="*/ 8138260 w 8138260"/>
              <a:gd name="connsiteY8" fmla="*/ 3658409 h 8531201"/>
              <a:gd name="connsiteX9" fmla="*/ 8073667 w 8138260"/>
              <a:gd name="connsiteY9" fmla="*/ 3592247 h 8531201"/>
              <a:gd name="connsiteX10" fmla="*/ 5837277 w 8138260"/>
              <a:gd name="connsiteY10" fmla="*/ 2124336 h 8531201"/>
              <a:gd name="connsiteX11" fmla="*/ 3550344 w 8138260"/>
              <a:gd name="connsiteY11" fmla="*/ 416093 h 8531201"/>
              <a:gd name="connsiteX12" fmla="*/ 2645296 w 8138260"/>
              <a:gd name="connsiteY12" fmla="*/ 76751 h 85312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138260" h="8531201">
                <a:moveTo>
                  <a:pt x="2331259" y="0"/>
                </a:moveTo>
                <a:lnTo>
                  <a:pt x="143907" y="3186432"/>
                </a:lnTo>
                <a:lnTo>
                  <a:pt x="148474" y="3239061"/>
                </a:lnTo>
                <a:cubicBezTo>
                  <a:pt x="185337" y="3959407"/>
                  <a:pt x="-91188" y="4698191"/>
                  <a:pt x="31713" y="5422036"/>
                </a:cubicBezTo>
                <a:cubicBezTo>
                  <a:pt x="136153" y="6041417"/>
                  <a:pt x="481894" y="6657969"/>
                  <a:pt x="1119355" y="7031293"/>
                </a:cubicBezTo>
                <a:cubicBezTo>
                  <a:pt x="1749610" y="7398960"/>
                  <a:pt x="2574348" y="7483807"/>
                  <a:pt x="3280236" y="7755316"/>
                </a:cubicBezTo>
                <a:cubicBezTo>
                  <a:pt x="3774536" y="7946220"/>
                  <a:pt x="4191856" y="8230985"/>
                  <a:pt x="4652225" y="8464048"/>
                </a:cubicBezTo>
                <a:lnTo>
                  <a:pt x="4793292" y="8531201"/>
                </a:lnTo>
                <a:lnTo>
                  <a:pt x="8138260" y="3658409"/>
                </a:lnTo>
                <a:lnTo>
                  <a:pt x="8073667" y="3592247"/>
                </a:lnTo>
                <a:cubicBezTo>
                  <a:pt x="7479321" y="3027820"/>
                  <a:pt x="6638603" y="2635183"/>
                  <a:pt x="5837277" y="2124336"/>
                </a:cubicBezTo>
                <a:cubicBezTo>
                  <a:pt x="5012539" y="1598288"/>
                  <a:pt x="4465116" y="860125"/>
                  <a:pt x="3550344" y="416093"/>
                </a:cubicBezTo>
                <a:cubicBezTo>
                  <a:pt x="3265547" y="277819"/>
                  <a:pt x="2961362" y="163906"/>
                  <a:pt x="2645296" y="76751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22EC0EC8-E947-4BB7-9B84-EF4009ABFA6E}"/>
              </a:ext>
            </a:extLst>
          </p:cNvPr>
          <p:cNvGrpSpPr/>
          <p:nvPr/>
        </p:nvGrpSpPr>
        <p:grpSpPr>
          <a:xfrm rot="16200000">
            <a:off x="797214" y="-332152"/>
            <a:ext cx="208395" cy="1314681"/>
            <a:chOff x="243840" y="162560"/>
            <a:chExt cx="325120" cy="2051050"/>
          </a:xfrm>
        </p:grpSpPr>
        <p:sp>
          <p:nvSpPr>
            <p:cNvPr id="31" name="Rectangle: Rounded Corners 30">
              <a:extLst>
                <a:ext uri="{FF2B5EF4-FFF2-40B4-BE49-F238E27FC236}">
                  <a16:creationId xmlns:a16="http://schemas.microsoft.com/office/drawing/2014/main" id="{FE2D0BB7-609C-466F-B18C-13ED1980E54B}"/>
                </a:ext>
              </a:extLst>
            </p:cNvPr>
            <p:cNvSpPr/>
            <p:nvPr/>
          </p:nvSpPr>
          <p:spPr>
            <a:xfrm>
              <a:off x="243840" y="162560"/>
              <a:ext cx="325120" cy="1097280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E0812356-B369-4EB2-BE0C-9349B68B25D1}"/>
                </a:ext>
              </a:extLst>
            </p:cNvPr>
            <p:cNvSpPr/>
            <p:nvPr/>
          </p:nvSpPr>
          <p:spPr>
            <a:xfrm>
              <a:off x="243840" y="1324610"/>
              <a:ext cx="325120" cy="508000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Rectangle: Rounded Corners 32">
              <a:extLst>
                <a:ext uri="{FF2B5EF4-FFF2-40B4-BE49-F238E27FC236}">
                  <a16:creationId xmlns:a16="http://schemas.microsoft.com/office/drawing/2014/main" id="{D987F7AF-FDB0-4ABB-A17A-020D0031A805}"/>
                </a:ext>
              </a:extLst>
            </p:cNvPr>
            <p:cNvSpPr/>
            <p:nvPr/>
          </p:nvSpPr>
          <p:spPr>
            <a:xfrm>
              <a:off x="243840" y="1897380"/>
              <a:ext cx="325120" cy="316230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A4441C6B-478B-4924-8034-9FF4888EC7BB}"/>
              </a:ext>
            </a:extLst>
          </p:cNvPr>
          <p:cNvGrpSpPr/>
          <p:nvPr/>
        </p:nvGrpSpPr>
        <p:grpSpPr>
          <a:xfrm rot="10800000">
            <a:off x="11739534" y="5342648"/>
            <a:ext cx="208395" cy="1314681"/>
            <a:chOff x="243840" y="162560"/>
            <a:chExt cx="325120" cy="2051050"/>
          </a:xfrm>
        </p:grpSpPr>
        <p:sp>
          <p:nvSpPr>
            <p:cNvPr id="35" name="Rectangle: Rounded Corners 34">
              <a:extLst>
                <a:ext uri="{FF2B5EF4-FFF2-40B4-BE49-F238E27FC236}">
                  <a16:creationId xmlns:a16="http://schemas.microsoft.com/office/drawing/2014/main" id="{98BC2BB2-69F4-47D0-B05C-4BF7F16467D6}"/>
                </a:ext>
              </a:extLst>
            </p:cNvPr>
            <p:cNvSpPr/>
            <p:nvPr/>
          </p:nvSpPr>
          <p:spPr>
            <a:xfrm>
              <a:off x="243840" y="162560"/>
              <a:ext cx="325120" cy="1097280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" name="Rectangle: Rounded Corners 35">
              <a:extLst>
                <a:ext uri="{FF2B5EF4-FFF2-40B4-BE49-F238E27FC236}">
                  <a16:creationId xmlns:a16="http://schemas.microsoft.com/office/drawing/2014/main" id="{ED71EE1E-5674-4167-B836-DE59E413E3D6}"/>
                </a:ext>
              </a:extLst>
            </p:cNvPr>
            <p:cNvSpPr/>
            <p:nvPr/>
          </p:nvSpPr>
          <p:spPr>
            <a:xfrm>
              <a:off x="243840" y="1324610"/>
              <a:ext cx="325120" cy="508000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" name="Rectangle: Rounded Corners 36">
              <a:extLst>
                <a:ext uri="{FF2B5EF4-FFF2-40B4-BE49-F238E27FC236}">
                  <a16:creationId xmlns:a16="http://schemas.microsoft.com/office/drawing/2014/main" id="{A80C99B2-442A-4D1C-A501-6B3D1A2A639D}"/>
                </a:ext>
              </a:extLst>
            </p:cNvPr>
            <p:cNvSpPr/>
            <p:nvPr/>
          </p:nvSpPr>
          <p:spPr>
            <a:xfrm>
              <a:off x="243840" y="1897380"/>
              <a:ext cx="325120" cy="316230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009F49E6-0646-4488-969B-73AD9C42B971}"/>
              </a:ext>
            </a:extLst>
          </p:cNvPr>
          <p:cNvSpPr txBox="1"/>
          <p:nvPr/>
        </p:nvSpPr>
        <p:spPr>
          <a:xfrm>
            <a:off x="467090" y="1074272"/>
            <a:ext cx="380163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i="1" dirty="0">
                <a:latin typeface="Segoe UI" panose="020B0502040204020203" pitchFamily="34" charset="0"/>
                <a:cs typeface="Segoe UI" panose="020B0502040204020203" pitchFamily="34" charset="0"/>
              </a:rPr>
              <a:t>Create Database</a:t>
            </a:r>
            <a:endParaRPr lang="id-ID" sz="2400" b="1" i="1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en-US" sz="2400" b="1" i="1" dirty="0">
                <a:solidFill>
                  <a:schemeClr val="accent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ySQL &amp; PostgreSQL</a:t>
            </a:r>
            <a:endParaRPr lang="id-ID" sz="2400" b="1" i="1" dirty="0">
              <a:solidFill>
                <a:schemeClr val="accent4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8" name="TextBox 27">
            <a:extLst>
              <a:ext uri="{FF2B5EF4-FFF2-40B4-BE49-F238E27FC236}">
                <a16:creationId xmlns:a16="http://schemas.microsoft.com/office/drawing/2014/main" id="{80BC7104-D0C5-BEF8-17C6-4CE42FBCFB87}"/>
              </a:ext>
            </a:extLst>
          </p:cNvPr>
          <p:cNvSpPr txBox="1"/>
          <p:nvPr/>
        </p:nvSpPr>
        <p:spPr>
          <a:xfrm>
            <a:off x="5968166" y="877049"/>
            <a:ext cx="481162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i="1" dirty="0">
                <a:latin typeface="Segoe UI" panose="020B0502040204020203" pitchFamily="34" charset="0"/>
                <a:cs typeface="Segoe UI" panose="020B0502040204020203" pitchFamily="34" charset="0"/>
              </a:rPr>
              <a:t>Create Connection from Airflow</a:t>
            </a:r>
            <a:endParaRPr lang="id-ID" sz="2400" b="1" i="1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en-US" sz="2400" b="1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o PostgreSQL</a:t>
            </a:r>
            <a:endParaRPr lang="id-ID" sz="2400" b="1" i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9" name="Rectangle 25">
            <a:extLst>
              <a:ext uri="{FF2B5EF4-FFF2-40B4-BE49-F238E27FC236}">
                <a16:creationId xmlns:a16="http://schemas.microsoft.com/office/drawing/2014/main" id="{63B39DB6-92C1-E94A-DD2D-8B62C3DF3C81}"/>
              </a:ext>
            </a:extLst>
          </p:cNvPr>
          <p:cNvSpPr/>
          <p:nvPr/>
        </p:nvSpPr>
        <p:spPr>
          <a:xfrm>
            <a:off x="161037" y="6374139"/>
            <a:ext cx="1671091" cy="2965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sz="1200" b="1" dirty="0">
                <a:solidFill>
                  <a:schemeClr val="tx2">
                    <a:lumMod val="50000"/>
                  </a:schemeClr>
                </a:solidFill>
                <a:latin typeface="Montserrat" panose="00000500000000000000" pitchFamily="50" charset="0"/>
                <a:cs typeface="Segoe UI" panose="020B0502040204020203" pitchFamily="34" charset="0"/>
              </a:rPr>
              <a:t>#AYOPAKAIDATA</a:t>
            </a:r>
          </a:p>
        </p:txBody>
      </p:sp>
      <p:pic>
        <p:nvPicPr>
          <p:cNvPr id="5" name="Gambar 4">
            <a:extLst>
              <a:ext uri="{FF2B5EF4-FFF2-40B4-BE49-F238E27FC236}">
                <a16:creationId xmlns:a16="http://schemas.microsoft.com/office/drawing/2014/main" id="{6268A55B-DB55-3956-6A98-885A1C58025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18677" y="1998089"/>
            <a:ext cx="5310607" cy="3715497"/>
          </a:xfrm>
          <a:prstGeom prst="rect">
            <a:avLst/>
          </a:prstGeom>
        </p:spPr>
      </p:pic>
      <p:pic>
        <p:nvPicPr>
          <p:cNvPr id="53" name="Gambar 52">
            <a:extLst>
              <a:ext uri="{FF2B5EF4-FFF2-40B4-BE49-F238E27FC236}">
                <a16:creationId xmlns:a16="http://schemas.microsoft.com/office/drawing/2014/main" id="{7AA63076-0A55-9FF1-D001-2E3141D0950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6315" y="2304717"/>
            <a:ext cx="2868531" cy="2877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7047817"/>
      </p:ext>
    </p:extLst>
  </p:cSld>
  <p:clrMapOvr>
    <a:masterClrMapping/>
  </p:clrMapOvr>
  <p:transition spd="slow">
    <p:wip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CB4E185C-57E4-4D04-ABD5-E3F466FF7222}"/>
              </a:ext>
            </a:extLst>
          </p:cNvPr>
          <p:cNvSpPr/>
          <p:nvPr/>
        </p:nvSpPr>
        <p:spPr>
          <a:xfrm rot="8731423">
            <a:off x="6049763" y="88248"/>
            <a:ext cx="6504233" cy="7911498"/>
          </a:xfrm>
          <a:custGeom>
            <a:avLst/>
            <a:gdLst>
              <a:gd name="connsiteX0" fmla="*/ 1896377 w 6504233"/>
              <a:gd name="connsiteY0" fmla="*/ 7146121 h 7911498"/>
              <a:gd name="connsiteX1" fmla="*/ 850329 w 6504233"/>
              <a:gd name="connsiteY1" fmla="*/ 6169437 h 7911498"/>
              <a:gd name="connsiteX2" fmla="*/ 454841 w 6504233"/>
              <a:gd name="connsiteY2" fmla="*/ 5533914 h 7911498"/>
              <a:gd name="connsiteX3" fmla="*/ 125649 w 6504233"/>
              <a:gd name="connsiteY3" fmla="*/ 4642352 h 7911498"/>
              <a:gd name="connsiteX4" fmla="*/ 7733 w 6504233"/>
              <a:gd name="connsiteY4" fmla="*/ 3849642 h 7911498"/>
              <a:gd name="connsiteX5" fmla="*/ 0 w 6504233"/>
              <a:gd name="connsiteY5" fmla="*/ 3586174 h 7911498"/>
              <a:gd name="connsiteX6" fmla="*/ 2462524 w 6504233"/>
              <a:gd name="connsiteY6" fmla="*/ 0 h 7911498"/>
              <a:gd name="connsiteX7" fmla="*/ 3391723 w 6504233"/>
              <a:gd name="connsiteY7" fmla="*/ 638055 h 7911498"/>
              <a:gd name="connsiteX8" fmla="*/ 3396852 w 6504233"/>
              <a:gd name="connsiteY8" fmla="*/ 648829 h 7911498"/>
              <a:gd name="connsiteX9" fmla="*/ 3474720 w 6504233"/>
              <a:gd name="connsiteY9" fmla="*/ 868075 h 7911498"/>
              <a:gd name="connsiteX10" fmla="*/ 3646175 w 6504233"/>
              <a:gd name="connsiteY10" fmla="*/ 2020247 h 7911498"/>
              <a:gd name="connsiteX11" fmla="*/ 4331991 w 6504233"/>
              <a:gd name="connsiteY11" fmla="*/ 3206710 h 7911498"/>
              <a:gd name="connsiteX12" fmla="*/ 5132110 w 6504233"/>
              <a:gd name="connsiteY12" fmla="*/ 3814801 h 7911498"/>
              <a:gd name="connsiteX13" fmla="*/ 6176837 w 6504233"/>
              <a:gd name="connsiteY13" fmla="*/ 4694931 h 7911498"/>
              <a:gd name="connsiteX14" fmla="*/ 6499169 w 6504233"/>
              <a:gd name="connsiteY14" fmla="*/ 5956833 h 7911498"/>
              <a:gd name="connsiteX15" fmla="*/ 5074958 w 6504233"/>
              <a:gd name="connsiteY15" fmla="*/ 7797108 h 7911498"/>
              <a:gd name="connsiteX16" fmla="*/ 4853212 w 6504233"/>
              <a:gd name="connsiteY16" fmla="*/ 7858830 h 7911498"/>
              <a:gd name="connsiteX17" fmla="*/ 3744474 w 6504233"/>
              <a:gd name="connsiteY17" fmla="*/ 7845114 h 7911498"/>
              <a:gd name="connsiteX18" fmla="*/ 3433571 w 6504233"/>
              <a:gd name="connsiteY18" fmla="*/ 7776532 h 7911498"/>
              <a:gd name="connsiteX19" fmla="*/ 2658600 w 6504233"/>
              <a:gd name="connsiteY19" fmla="*/ 7547927 h 7911498"/>
              <a:gd name="connsiteX20" fmla="*/ 1896377 w 6504233"/>
              <a:gd name="connsiteY20" fmla="*/ 7146121 h 7911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6504233" h="7911498">
                <a:moveTo>
                  <a:pt x="1896377" y="7146121"/>
                </a:moveTo>
                <a:cubicBezTo>
                  <a:pt x="1496496" y="6881506"/>
                  <a:pt x="1140372" y="6550922"/>
                  <a:pt x="850329" y="6169437"/>
                </a:cubicBezTo>
                <a:cubicBezTo>
                  <a:pt x="699450" y="5970549"/>
                  <a:pt x="566859" y="5757947"/>
                  <a:pt x="454841" y="5533914"/>
                </a:cubicBezTo>
                <a:cubicBezTo>
                  <a:pt x="313106" y="5250443"/>
                  <a:pt x="201089" y="4950968"/>
                  <a:pt x="125649" y="4642352"/>
                </a:cubicBezTo>
                <a:cubicBezTo>
                  <a:pt x="62640" y="4386886"/>
                  <a:pt x="23500" y="4120650"/>
                  <a:pt x="7733" y="3849642"/>
                </a:cubicBezTo>
                <a:lnTo>
                  <a:pt x="0" y="3586174"/>
                </a:lnTo>
                <a:lnTo>
                  <a:pt x="2462524" y="0"/>
                </a:lnTo>
                <a:lnTo>
                  <a:pt x="3391723" y="638055"/>
                </a:lnTo>
                <a:lnTo>
                  <a:pt x="3396852" y="648829"/>
                </a:lnTo>
                <a:cubicBezTo>
                  <a:pt x="3427714" y="720196"/>
                  <a:pt x="3453574" y="793778"/>
                  <a:pt x="3474720" y="868075"/>
                </a:cubicBezTo>
                <a:cubicBezTo>
                  <a:pt x="3582163" y="1247560"/>
                  <a:pt x="3554733" y="1640761"/>
                  <a:pt x="3646175" y="2020247"/>
                </a:cubicBezTo>
                <a:cubicBezTo>
                  <a:pt x="3755906" y="2468313"/>
                  <a:pt x="4007372" y="2877519"/>
                  <a:pt x="4331991" y="3206710"/>
                </a:cubicBezTo>
                <a:cubicBezTo>
                  <a:pt x="4567454" y="3446745"/>
                  <a:pt x="4841781" y="3645633"/>
                  <a:pt x="5132110" y="3814801"/>
                </a:cubicBezTo>
                <a:cubicBezTo>
                  <a:pt x="5550458" y="4057122"/>
                  <a:pt x="5911654" y="4269724"/>
                  <a:pt x="6176837" y="4694931"/>
                </a:cubicBezTo>
                <a:cubicBezTo>
                  <a:pt x="6410014" y="5069844"/>
                  <a:pt x="6531176" y="5515625"/>
                  <a:pt x="6499169" y="5956833"/>
                </a:cubicBezTo>
                <a:cubicBezTo>
                  <a:pt x="6439734" y="6775241"/>
                  <a:pt x="5852216" y="7534210"/>
                  <a:pt x="5074958" y="7797108"/>
                </a:cubicBezTo>
                <a:cubicBezTo>
                  <a:pt x="5001805" y="7822253"/>
                  <a:pt x="4928651" y="7842829"/>
                  <a:pt x="4853212" y="7858830"/>
                </a:cubicBezTo>
                <a:cubicBezTo>
                  <a:pt x="4496585" y="7936556"/>
                  <a:pt x="4101099" y="7925127"/>
                  <a:pt x="3744474" y="7845114"/>
                </a:cubicBezTo>
                <a:cubicBezTo>
                  <a:pt x="3639316" y="7822253"/>
                  <a:pt x="3536442" y="7799393"/>
                  <a:pt x="3433571" y="7776532"/>
                </a:cubicBezTo>
                <a:cubicBezTo>
                  <a:pt x="3170673" y="7717095"/>
                  <a:pt x="2912350" y="7648513"/>
                  <a:pt x="2658600" y="7547927"/>
                </a:cubicBezTo>
                <a:cubicBezTo>
                  <a:pt x="2391988" y="7439911"/>
                  <a:pt x="2136307" y="7304891"/>
                  <a:pt x="1896377" y="7146121"/>
                </a:cubicBezTo>
                <a:close/>
              </a:path>
            </a:pathLst>
          </a:custGeom>
          <a:solidFill>
            <a:schemeClr val="accent4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CCFEB90A-5CD7-4CF8-96E6-D17A064EABF2}"/>
              </a:ext>
            </a:extLst>
          </p:cNvPr>
          <p:cNvSpPr/>
          <p:nvPr/>
        </p:nvSpPr>
        <p:spPr>
          <a:xfrm>
            <a:off x="11547961" y="3599575"/>
            <a:ext cx="1562608" cy="2781808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>
            <a:outerShdw blurRad="660400" dist="190500" dir="2700000" algn="tl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57F4E727-400A-4713-8BF4-D1E70C1C8DCD}"/>
              </a:ext>
            </a:extLst>
          </p:cNvPr>
          <p:cNvGrpSpPr/>
          <p:nvPr/>
        </p:nvGrpSpPr>
        <p:grpSpPr>
          <a:xfrm rot="16200000">
            <a:off x="797214" y="-332152"/>
            <a:ext cx="208395" cy="1314681"/>
            <a:chOff x="243840" y="162560"/>
            <a:chExt cx="325120" cy="2051050"/>
          </a:xfrm>
        </p:grpSpPr>
        <p:sp>
          <p:nvSpPr>
            <p:cNvPr id="42" name="Rectangle: Rounded Corners 41">
              <a:extLst>
                <a:ext uri="{FF2B5EF4-FFF2-40B4-BE49-F238E27FC236}">
                  <a16:creationId xmlns:a16="http://schemas.microsoft.com/office/drawing/2014/main" id="{33523620-C8D8-414D-8C03-C4BDDC4EA7B0}"/>
                </a:ext>
              </a:extLst>
            </p:cNvPr>
            <p:cNvSpPr/>
            <p:nvPr/>
          </p:nvSpPr>
          <p:spPr>
            <a:xfrm>
              <a:off x="243840" y="162560"/>
              <a:ext cx="325120" cy="1097280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" name="Rectangle: Rounded Corners 42">
              <a:extLst>
                <a:ext uri="{FF2B5EF4-FFF2-40B4-BE49-F238E27FC236}">
                  <a16:creationId xmlns:a16="http://schemas.microsoft.com/office/drawing/2014/main" id="{7E06DDD3-67F0-4696-A55E-F74A1D42A67C}"/>
                </a:ext>
              </a:extLst>
            </p:cNvPr>
            <p:cNvSpPr/>
            <p:nvPr/>
          </p:nvSpPr>
          <p:spPr>
            <a:xfrm>
              <a:off x="243840" y="1324610"/>
              <a:ext cx="325120" cy="508000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" name="Rectangle: Rounded Corners 43">
              <a:extLst>
                <a:ext uri="{FF2B5EF4-FFF2-40B4-BE49-F238E27FC236}">
                  <a16:creationId xmlns:a16="http://schemas.microsoft.com/office/drawing/2014/main" id="{6264D815-CE64-4CC4-95C6-80294360F8C6}"/>
                </a:ext>
              </a:extLst>
            </p:cNvPr>
            <p:cNvSpPr/>
            <p:nvPr/>
          </p:nvSpPr>
          <p:spPr>
            <a:xfrm>
              <a:off x="243840" y="1897380"/>
              <a:ext cx="325120" cy="316230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75C886CC-BAE8-4F76-AB31-D794CF99103D}"/>
              </a:ext>
            </a:extLst>
          </p:cNvPr>
          <p:cNvSpPr txBox="1"/>
          <p:nvPr/>
        </p:nvSpPr>
        <p:spPr>
          <a:xfrm>
            <a:off x="161037" y="547105"/>
            <a:ext cx="361091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i="1" dirty="0">
                <a:latin typeface="Segoe UI" panose="020B0502040204020203" pitchFamily="34" charset="0"/>
                <a:cs typeface="Segoe UI" panose="020B0502040204020203" pitchFamily="34" charset="0"/>
              </a:rPr>
              <a:t>Create </a:t>
            </a:r>
            <a:r>
              <a:rPr lang="en-US" sz="4000" b="1" i="1" dirty="0">
                <a:solidFill>
                  <a:schemeClr val="accent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AG</a:t>
            </a:r>
            <a:endParaRPr lang="id-ID" sz="4000" b="1" i="1" dirty="0">
              <a:solidFill>
                <a:schemeClr val="accent4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8" name="Rectangle 25">
            <a:extLst>
              <a:ext uri="{FF2B5EF4-FFF2-40B4-BE49-F238E27FC236}">
                <a16:creationId xmlns:a16="http://schemas.microsoft.com/office/drawing/2014/main" id="{9F7B4885-C384-CA06-1C25-9FFF615F35F4}"/>
              </a:ext>
            </a:extLst>
          </p:cNvPr>
          <p:cNvSpPr/>
          <p:nvPr/>
        </p:nvSpPr>
        <p:spPr>
          <a:xfrm>
            <a:off x="161037" y="6374139"/>
            <a:ext cx="1671091" cy="2965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sz="1200" b="1" dirty="0">
                <a:solidFill>
                  <a:schemeClr val="tx2">
                    <a:lumMod val="50000"/>
                  </a:schemeClr>
                </a:solidFill>
                <a:latin typeface="Montserrat" panose="00000500000000000000" pitchFamily="50" charset="0"/>
                <a:cs typeface="Segoe UI" panose="020B0502040204020203" pitchFamily="34" charset="0"/>
              </a:rPr>
              <a:t>#AYOPAKAIDATA</a:t>
            </a:r>
          </a:p>
        </p:txBody>
      </p:sp>
      <p:pic>
        <p:nvPicPr>
          <p:cNvPr id="29" name="Gambar 28">
            <a:extLst>
              <a:ext uri="{FF2B5EF4-FFF2-40B4-BE49-F238E27FC236}">
                <a16:creationId xmlns:a16="http://schemas.microsoft.com/office/drawing/2014/main" id="{30A28348-80AA-D5AE-8593-8AEDDD7AF4C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08381" y="325188"/>
            <a:ext cx="5981046" cy="4596427"/>
          </a:xfrm>
          <a:prstGeom prst="rect">
            <a:avLst/>
          </a:prstGeom>
        </p:spPr>
      </p:pic>
      <p:pic>
        <p:nvPicPr>
          <p:cNvPr id="30" name="Gambar 29">
            <a:extLst>
              <a:ext uri="{FF2B5EF4-FFF2-40B4-BE49-F238E27FC236}">
                <a16:creationId xmlns:a16="http://schemas.microsoft.com/office/drawing/2014/main" id="{6A496F52-F06C-783D-FC9E-9D6F9F1DC1E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2573" y="1773591"/>
            <a:ext cx="4867569" cy="1773832"/>
          </a:xfrm>
          <a:prstGeom prst="rect">
            <a:avLst/>
          </a:prstGeom>
        </p:spPr>
      </p:pic>
      <p:pic>
        <p:nvPicPr>
          <p:cNvPr id="31" name="Gambar 30">
            <a:extLst>
              <a:ext uri="{FF2B5EF4-FFF2-40B4-BE49-F238E27FC236}">
                <a16:creationId xmlns:a16="http://schemas.microsoft.com/office/drawing/2014/main" id="{DDB78FEF-E0A9-F7C6-1521-ADF3951DCF3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7497" y="5122726"/>
            <a:ext cx="9072856" cy="11507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0542778"/>
      </p:ext>
    </p:extLst>
  </p:cSld>
  <p:clrMapOvr>
    <a:masterClrMapping/>
  </p:clrMapOvr>
  <p:transition spd="slow">
    <p:wip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AAF1850C-B134-4ADE-A82B-61D1799A604F}"/>
              </a:ext>
            </a:extLst>
          </p:cNvPr>
          <p:cNvSpPr/>
          <p:nvPr/>
        </p:nvSpPr>
        <p:spPr>
          <a:xfrm rot="7545963" flipV="1">
            <a:off x="1986062" y="843559"/>
            <a:ext cx="8580042" cy="10496256"/>
          </a:xfrm>
          <a:custGeom>
            <a:avLst/>
            <a:gdLst>
              <a:gd name="connsiteX0" fmla="*/ 587142 w 8580042"/>
              <a:gd name="connsiteY0" fmla="*/ 7140560 h 10496256"/>
              <a:gd name="connsiteX1" fmla="*/ 182254 w 8580042"/>
              <a:gd name="connsiteY1" fmla="*/ 7881736 h 10496256"/>
              <a:gd name="connsiteX2" fmla="*/ 63739 w 8580042"/>
              <a:gd name="connsiteY2" fmla="*/ 9488331 h 10496256"/>
              <a:gd name="connsiteX3" fmla="*/ 65906 w 8580042"/>
              <a:gd name="connsiteY3" fmla="*/ 9496310 h 10496256"/>
              <a:gd name="connsiteX4" fmla="*/ 1454099 w 8580042"/>
              <a:gd name="connsiteY4" fmla="*/ 10496256 h 10496256"/>
              <a:gd name="connsiteX5" fmla="*/ 8580042 w 8580042"/>
              <a:gd name="connsiteY5" fmla="*/ 603542 h 10496256"/>
              <a:gd name="connsiteX6" fmla="*/ 7742164 w 8580042"/>
              <a:gd name="connsiteY6" fmla="*/ 0 h 10496256"/>
              <a:gd name="connsiteX7" fmla="*/ 7637552 w 8580042"/>
              <a:gd name="connsiteY7" fmla="*/ 15185 h 10496256"/>
              <a:gd name="connsiteX8" fmla="*/ 6775520 w 8580042"/>
              <a:gd name="connsiteY8" fmla="*/ 198376 h 10496256"/>
              <a:gd name="connsiteX9" fmla="*/ 5247408 w 8580042"/>
              <a:gd name="connsiteY9" fmla="*/ 909737 h 10496256"/>
              <a:gd name="connsiteX10" fmla="*/ 3827981 w 8580042"/>
              <a:gd name="connsiteY10" fmla="*/ 3231542 h 10496256"/>
              <a:gd name="connsiteX11" fmla="*/ 1558870 w 8580042"/>
              <a:gd name="connsiteY11" fmla="*/ 6100041 h 10496256"/>
              <a:gd name="connsiteX12" fmla="*/ 587142 w 8580042"/>
              <a:gd name="connsiteY12" fmla="*/ 7140560 h 104962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580042" h="10496256">
                <a:moveTo>
                  <a:pt x="587142" y="7140560"/>
                </a:moveTo>
                <a:cubicBezTo>
                  <a:pt x="422771" y="7370599"/>
                  <a:pt x="283524" y="7616211"/>
                  <a:pt x="182254" y="7881736"/>
                </a:cubicBezTo>
                <a:cubicBezTo>
                  <a:pt x="-13287" y="8390143"/>
                  <a:pt x="-49307" y="8955157"/>
                  <a:pt x="63739" y="9488331"/>
                </a:cubicBezTo>
                <a:lnTo>
                  <a:pt x="65906" y="9496310"/>
                </a:lnTo>
                <a:lnTo>
                  <a:pt x="1454099" y="10496256"/>
                </a:lnTo>
                <a:lnTo>
                  <a:pt x="8580042" y="603542"/>
                </a:lnTo>
                <a:lnTo>
                  <a:pt x="7742164" y="0"/>
                </a:lnTo>
                <a:lnTo>
                  <a:pt x="7637552" y="15185"/>
                </a:lnTo>
                <a:cubicBezTo>
                  <a:pt x="7340328" y="66643"/>
                  <a:pt x="7045574" y="132510"/>
                  <a:pt x="6775520" y="198376"/>
                </a:cubicBezTo>
                <a:cubicBezTo>
                  <a:pt x="6228823" y="333405"/>
                  <a:pt x="5692010" y="557352"/>
                  <a:pt x="5247408" y="909737"/>
                </a:cubicBezTo>
                <a:cubicBezTo>
                  <a:pt x="4552515" y="1459726"/>
                  <a:pt x="4018995" y="2371979"/>
                  <a:pt x="3827981" y="3231542"/>
                </a:cubicBezTo>
                <a:cubicBezTo>
                  <a:pt x="3548049" y="4489597"/>
                  <a:pt x="2464539" y="5289877"/>
                  <a:pt x="1558870" y="6100041"/>
                </a:cubicBezTo>
                <a:cubicBezTo>
                  <a:pt x="1204836" y="6417022"/>
                  <a:pt x="861094" y="6757163"/>
                  <a:pt x="587142" y="7140560"/>
                </a:cubicBezTo>
                <a:close/>
              </a:path>
            </a:pathLst>
          </a:custGeom>
          <a:solidFill>
            <a:schemeClr val="accent4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B322DCFD-B530-4DD4-B521-23D4999C5A36}"/>
              </a:ext>
            </a:extLst>
          </p:cNvPr>
          <p:cNvSpPr txBox="1"/>
          <p:nvPr/>
        </p:nvSpPr>
        <p:spPr>
          <a:xfrm>
            <a:off x="2631811" y="61157"/>
            <a:ext cx="6953889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i="1" dirty="0">
                <a:latin typeface="Segoe UI" panose="020B0502040204020203" pitchFamily="34" charset="0"/>
                <a:cs typeface="Segoe UI" panose="020B0502040204020203" pitchFamily="34" charset="0"/>
              </a:rPr>
              <a:t>Get data from API and </a:t>
            </a:r>
            <a:r>
              <a:rPr lang="en-US" sz="3200" b="1" i="1" dirty="0">
                <a:solidFill>
                  <a:schemeClr val="accent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ad to </a:t>
            </a:r>
            <a:r>
              <a:rPr lang="en-US" sz="3200" b="1" i="1" dirty="0" err="1">
                <a:solidFill>
                  <a:schemeClr val="accent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ysql</a:t>
            </a:r>
            <a:r>
              <a:rPr lang="en-US" sz="3200" b="1" i="1" dirty="0">
                <a:solidFill>
                  <a:schemeClr val="accent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&amp; PostgreSQL</a:t>
            </a:r>
            <a:endParaRPr lang="id-ID" sz="3200" b="1" i="1" dirty="0">
              <a:solidFill>
                <a:schemeClr val="accent4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2FA0290E-3307-4406-B0A7-ECEB4A8B4674}"/>
              </a:ext>
            </a:extLst>
          </p:cNvPr>
          <p:cNvGrpSpPr/>
          <p:nvPr/>
        </p:nvGrpSpPr>
        <p:grpSpPr>
          <a:xfrm rot="16200000">
            <a:off x="797214" y="-332152"/>
            <a:ext cx="208395" cy="1314681"/>
            <a:chOff x="243840" y="162560"/>
            <a:chExt cx="325120" cy="2051050"/>
          </a:xfrm>
        </p:grpSpPr>
        <p:sp>
          <p:nvSpPr>
            <p:cNvPr id="35" name="Rectangle: Rounded Corners 34">
              <a:extLst>
                <a:ext uri="{FF2B5EF4-FFF2-40B4-BE49-F238E27FC236}">
                  <a16:creationId xmlns:a16="http://schemas.microsoft.com/office/drawing/2014/main" id="{0C6CA1C1-2B2D-4DF1-B0F4-9412E9ADDB9E}"/>
                </a:ext>
              </a:extLst>
            </p:cNvPr>
            <p:cNvSpPr/>
            <p:nvPr/>
          </p:nvSpPr>
          <p:spPr>
            <a:xfrm>
              <a:off x="243840" y="162560"/>
              <a:ext cx="325120" cy="1097280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" name="Rectangle: Rounded Corners 35">
              <a:extLst>
                <a:ext uri="{FF2B5EF4-FFF2-40B4-BE49-F238E27FC236}">
                  <a16:creationId xmlns:a16="http://schemas.microsoft.com/office/drawing/2014/main" id="{4B3DE816-C5F3-49CF-83EE-CD043702FA17}"/>
                </a:ext>
              </a:extLst>
            </p:cNvPr>
            <p:cNvSpPr/>
            <p:nvPr/>
          </p:nvSpPr>
          <p:spPr>
            <a:xfrm>
              <a:off x="243840" y="1324610"/>
              <a:ext cx="325120" cy="508000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" name="Rectangle: Rounded Corners 36">
              <a:extLst>
                <a:ext uri="{FF2B5EF4-FFF2-40B4-BE49-F238E27FC236}">
                  <a16:creationId xmlns:a16="http://schemas.microsoft.com/office/drawing/2014/main" id="{1B51AFC4-5B97-459A-86AE-EA979492BA4C}"/>
                </a:ext>
              </a:extLst>
            </p:cNvPr>
            <p:cNvSpPr/>
            <p:nvPr/>
          </p:nvSpPr>
          <p:spPr>
            <a:xfrm>
              <a:off x="243840" y="1897380"/>
              <a:ext cx="325120" cy="316230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24" name="Gambar 23">
            <a:extLst>
              <a:ext uri="{FF2B5EF4-FFF2-40B4-BE49-F238E27FC236}">
                <a16:creationId xmlns:a16="http://schemas.microsoft.com/office/drawing/2014/main" id="{BD1DE9B0-8EFF-63B2-7B03-DE3D90DF4B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7404" y="1525385"/>
            <a:ext cx="3080901" cy="518568"/>
          </a:xfrm>
          <a:prstGeom prst="rect">
            <a:avLst/>
          </a:prstGeom>
        </p:spPr>
      </p:pic>
      <p:pic>
        <p:nvPicPr>
          <p:cNvPr id="26" name="Gambar 25">
            <a:extLst>
              <a:ext uri="{FF2B5EF4-FFF2-40B4-BE49-F238E27FC236}">
                <a16:creationId xmlns:a16="http://schemas.microsoft.com/office/drawing/2014/main" id="{3A1F1255-75D1-0ED5-8BFE-080B97360AD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8921" y="3035377"/>
            <a:ext cx="3008876" cy="2604173"/>
          </a:xfrm>
          <a:prstGeom prst="rect">
            <a:avLst/>
          </a:prstGeom>
        </p:spPr>
      </p:pic>
      <p:pic>
        <p:nvPicPr>
          <p:cNvPr id="27" name="Gambar 26">
            <a:extLst>
              <a:ext uri="{FF2B5EF4-FFF2-40B4-BE49-F238E27FC236}">
                <a16:creationId xmlns:a16="http://schemas.microsoft.com/office/drawing/2014/main" id="{39035B2E-9316-0DAA-CD50-9678F9A60ED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89106" y="1138375"/>
            <a:ext cx="6597885" cy="4662838"/>
          </a:xfrm>
          <a:prstGeom prst="rect">
            <a:avLst/>
          </a:prstGeom>
        </p:spPr>
      </p:pic>
      <p:sp>
        <p:nvSpPr>
          <p:cNvPr id="28" name="Rectangle 25">
            <a:extLst>
              <a:ext uri="{FF2B5EF4-FFF2-40B4-BE49-F238E27FC236}">
                <a16:creationId xmlns:a16="http://schemas.microsoft.com/office/drawing/2014/main" id="{D6A4BEB2-11F4-9172-1C0A-FFDE7EBA2E80}"/>
              </a:ext>
            </a:extLst>
          </p:cNvPr>
          <p:cNvSpPr/>
          <p:nvPr/>
        </p:nvSpPr>
        <p:spPr>
          <a:xfrm>
            <a:off x="161037" y="6374139"/>
            <a:ext cx="1658798" cy="2965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sz="1200" b="1" dirty="0">
                <a:solidFill>
                  <a:schemeClr val="bg1"/>
                </a:solidFill>
                <a:latin typeface="Montserrat" panose="00000500000000000000" pitchFamily="50" charset="0"/>
                <a:cs typeface="Segoe UI" panose="020B0502040204020203" pitchFamily="34" charset="0"/>
              </a:rPr>
              <a:t>#AYOPAKAIDATA</a:t>
            </a:r>
          </a:p>
        </p:txBody>
      </p:sp>
      <p:sp>
        <p:nvSpPr>
          <p:cNvPr id="29" name="Kotak Teks 28">
            <a:extLst>
              <a:ext uri="{FF2B5EF4-FFF2-40B4-BE49-F238E27FC236}">
                <a16:creationId xmlns:a16="http://schemas.microsoft.com/office/drawing/2014/main" id="{576193D3-6534-271A-061C-EEB259B44BF2}"/>
              </a:ext>
            </a:extLst>
          </p:cNvPr>
          <p:cNvSpPr txBox="1"/>
          <p:nvPr/>
        </p:nvSpPr>
        <p:spPr>
          <a:xfrm>
            <a:off x="988921" y="2231887"/>
            <a:ext cx="268291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d-ID" sz="1400" dirty="0"/>
              <a:t>Memanggil </a:t>
            </a:r>
            <a:r>
              <a:rPr lang="id-ID" sz="1400" dirty="0" err="1"/>
              <a:t>func</a:t>
            </a:r>
            <a:r>
              <a:rPr lang="id-ID" sz="1400" dirty="0"/>
              <a:t> main() di main.py</a:t>
            </a:r>
          </a:p>
        </p:txBody>
      </p:sp>
      <p:sp>
        <p:nvSpPr>
          <p:cNvPr id="30" name="Kotak Teks 29">
            <a:extLst>
              <a:ext uri="{FF2B5EF4-FFF2-40B4-BE49-F238E27FC236}">
                <a16:creationId xmlns:a16="http://schemas.microsoft.com/office/drawing/2014/main" id="{AC207242-77E3-3C74-0524-662AA23F0853}"/>
              </a:ext>
            </a:extLst>
          </p:cNvPr>
          <p:cNvSpPr txBox="1"/>
          <p:nvPr/>
        </p:nvSpPr>
        <p:spPr>
          <a:xfrm>
            <a:off x="6394638" y="5829155"/>
            <a:ext cx="417858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d-ID" sz="1400" dirty="0">
                <a:solidFill>
                  <a:schemeClr val="bg1"/>
                </a:solidFill>
              </a:rPr>
              <a:t>Main.py </a:t>
            </a:r>
            <a:r>
              <a:rPr lang="id-ID" sz="1400" dirty="0">
                <a:solidFill>
                  <a:schemeClr val="bg1"/>
                </a:solidFill>
                <a:sym typeface="Wingdings" panose="05000000000000000000" pitchFamily="2" charset="2"/>
              </a:rPr>
              <a:t> </a:t>
            </a:r>
            <a:r>
              <a:rPr lang="id-ID" sz="1400" dirty="0" err="1">
                <a:solidFill>
                  <a:schemeClr val="bg1"/>
                </a:solidFill>
                <a:sym typeface="Wingdings" panose="05000000000000000000" pitchFamily="2" charset="2"/>
              </a:rPr>
              <a:t>load</a:t>
            </a:r>
            <a:r>
              <a:rPr lang="id-ID" sz="1400" dirty="0">
                <a:solidFill>
                  <a:schemeClr val="bg1"/>
                </a:solidFill>
                <a:sym typeface="Wingdings" panose="05000000000000000000" pitchFamily="2" charset="2"/>
              </a:rPr>
              <a:t> </a:t>
            </a:r>
            <a:r>
              <a:rPr lang="id-ID" sz="1400" dirty="0" err="1">
                <a:solidFill>
                  <a:schemeClr val="bg1"/>
                </a:solidFill>
                <a:sym typeface="Wingdings" panose="05000000000000000000" pitchFamily="2" charset="2"/>
              </a:rPr>
              <a:t>from</a:t>
            </a:r>
            <a:r>
              <a:rPr lang="id-ID" sz="1400" dirty="0">
                <a:solidFill>
                  <a:schemeClr val="bg1"/>
                </a:solidFill>
                <a:sym typeface="Wingdings" panose="05000000000000000000" pitchFamily="2" charset="2"/>
              </a:rPr>
              <a:t> api </a:t>
            </a:r>
            <a:r>
              <a:rPr lang="id-ID" sz="1400" dirty="0" err="1">
                <a:solidFill>
                  <a:schemeClr val="bg1"/>
                </a:solidFill>
                <a:sym typeface="Wingdings" panose="05000000000000000000" pitchFamily="2" charset="2"/>
              </a:rPr>
              <a:t>to</a:t>
            </a:r>
            <a:r>
              <a:rPr lang="id-ID" sz="1400" dirty="0">
                <a:solidFill>
                  <a:schemeClr val="bg1"/>
                </a:solidFill>
                <a:sym typeface="Wingdings" panose="05000000000000000000" pitchFamily="2" charset="2"/>
              </a:rPr>
              <a:t> </a:t>
            </a:r>
            <a:r>
              <a:rPr lang="id-ID" sz="1400" dirty="0" err="1">
                <a:solidFill>
                  <a:schemeClr val="bg1"/>
                </a:solidFill>
                <a:sym typeface="Wingdings" panose="05000000000000000000" pitchFamily="2" charset="2"/>
              </a:rPr>
              <a:t>mysql</a:t>
            </a:r>
            <a:r>
              <a:rPr lang="id-ID" sz="1400" dirty="0">
                <a:solidFill>
                  <a:schemeClr val="bg1"/>
                </a:solidFill>
                <a:sym typeface="Wingdings" panose="05000000000000000000" pitchFamily="2" charset="2"/>
              </a:rPr>
              <a:t> -&gt; </a:t>
            </a:r>
            <a:r>
              <a:rPr lang="id-ID" sz="1400" dirty="0" err="1">
                <a:solidFill>
                  <a:schemeClr val="bg1"/>
                </a:solidFill>
                <a:sym typeface="Wingdings" panose="05000000000000000000" pitchFamily="2" charset="2"/>
              </a:rPr>
              <a:t>mysql</a:t>
            </a:r>
            <a:r>
              <a:rPr lang="id-ID" sz="1400" dirty="0">
                <a:solidFill>
                  <a:schemeClr val="bg1"/>
                </a:solidFill>
                <a:sym typeface="Wingdings" panose="05000000000000000000" pitchFamily="2" charset="2"/>
              </a:rPr>
              <a:t> </a:t>
            </a:r>
            <a:r>
              <a:rPr lang="id-ID" sz="1400" dirty="0" err="1">
                <a:solidFill>
                  <a:schemeClr val="bg1"/>
                </a:solidFill>
                <a:sym typeface="Wingdings" panose="05000000000000000000" pitchFamily="2" charset="2"/>
              </a:rPr>
              <a:t>to</a:t>
            </a:r>
            <a:r>
              <a:rPr lang="id-ID" sz="1400" dirty="0">
                <a:solidFill>
                  <a:schemeClr val="bg1"/>
                </a:solidFill>
                <a:sym typeface="Wingdings" panose="05000000000000000000" pitchFamily="2" charset="2"/>
              </a:rPr>
              <a:t> </a:t>
            </a:r>
            <a:r>
              <a:rPr lang="id-ID" sz="1400" dirty="0" err="1">
                <a:solidFill>
                  <a:schemeClr val="bg1"/>
                </a:solidFill>
                <a:sym typeface="Wingdings" panose="05000000000000000000" pitchFamily="2" charset="2"/>
              </a:rPr>
              <a:t>postgres</a:t>
            </a:r>
            <a:endParaRPr lang="id-ID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059431"/>
      </p:ext>
    </p:extLst>
  </p:cSld>
  <p:clrMapOvr>
    <a:masterClrMapping/>
  </p:clrMapOvr>
  <p:transition spd="slow">
    <p:wip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L0l0C6gUmpYmek4kB0o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L0l0C6gUmpYmek4kB0o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L0l0C6gUmpYmek4kB0o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L0l0C6gUmpYmek4kB0o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L0l0C6gUmpYmek4kB0oA"/>
</p:tagLst>
</file>

<file path=ppt/theme/theme1.xml><?xml version="1.0" encoding="utf-8"?>
<a:theme xmlns:a="http://schemas.openxmlformats.org/drawingml/2006/main" name="Office Theme">
  <a:themeElements>
    <a:clrScheme name="Non AQR - Blue Purple">
      <a:dk1>
        <a:sysClr val="windowText" lastClr="000000"/>
      </a:dk1>
      <a:lt1>
        <a:sysClr val="window" lastClr="FFFFFF"/>
      </a:lt1>
      <a:dk2>
        <a:srgbClr val="464646"/>
      </a:dk2>
      <a:lt2>
        <a:srgbClr val="FFFFFF"/>
      </a:lt2>
      <a:accent1>
        <a:srgbClr val="00B0F0"/>
      </a:accent1>
      <a:accent2>
        <a:srgbClr val="1580C4"/>
      </a:accent2>
      <a:accent3>
        <a:srgbClr val="0E55A3"/>
      </a:accent3>
      <a:accent4>
        <a:srgbClr val="4A2C7B"/>
      </a:accent4>
      <a:accent5>
        <a:srgbClr val="9E278B"/>
      </a:accent5>
      <a:accent6>
        <a:srgbClr val="E20B88"/>
      </a:accent6>
      <a:hlink>
        <a:srgbClr val="A05024"/>
      </a:hlink>
      <a:folHlink>
        <a:srgbClr val="FEC037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14</TotalTime>
  <Words>445</Words>
  <Application>Microsoft Office PowerPoint</Application>
  <PresentationFormat>Layar Lebar</PresentationFormat>
  <Paragraphs>87</Paragraphs>
  <Slides>20</Slides>
  <Notes>1</Notes>
  <HiddenSlides>0</HiddenSlides>
  <MMClips>0</MMClips>
  <ScaleCrop>false</ScaleCrop>
  <HeadingPairs>
    <vt:vector size="6" baseType="variant">
      <vt:variant>
        <vt:lpstr>Font Dipakai</vt:lpstr>
      </vt:variant>
      <vt:variant>
        <vt:i4>9</vt:i4>
      </vt:variant>
      <vt:variant>
        <vt:lpstr>Tema</vt:lpstr>
      </vt:variant>
      <vt:variant>
        <vt:i4>1</vt:i4>
      </vt:variant>
      <vt:variant>
        <vt:lpstr>Judul Slide</vt:lpstr>
      </vt:variant>
      <vt:variant>
        <vt:i4>20</vt:i4>
      </vt:variant>
    </vt:vector>
  </HeadingPairs>
  <TitlesOfParts>
    <vt:vector size="30" baseType="lpstr">
      <vt:lpstr>Arial</vt:lpstr>
      <vt:lpstr>Calibri</vt:lpstr>
      <vt:lpstr>Calibri Light</vt:lpstr>
      <vt:lpstr>Inter</vt:lpstr>
      <vt:lpstr>Montserrat</vt:lpstr>
      <vt:lpstr>Montserrat Alternates Black</vt:lpstr>
      <vt:lpstr>Montserrat ExtraBold</vt:lpstr>
      <vt:lpstr>Segoe UI</vt:lpstr>
      <vt:lpstr>Segoe UI Light</vt:lpstr>
      <vt:lpstr>Office Theme</vt:lpstr>
      <vt:lpstr>Presentasi PowerPoint</vt:lpstr>
      <vt:lpstr>Presentasi PowerPoint</vt:lpstr>
      <vt:lpstr>Presentasi PowerPoint</vt:lpstr>
      <vt:lpstr>Presentasi PowerPoint</vt:lpstr>
      <vt:lpstr>Presentasi PowerPoint</vt:lpstr>
      <vt:lpstr>Presentasi PowerPoint</vt:lpstr>
      <vt:lpstr>Presentasi PowerPoint</vt:lpstr>
      <vt:lpstr>Presentasi PowerPoint</vt:lpstr>
      <vt:lpstr>Presentasi PowerPoint</vt:lpstr>
      <vt:lpstr>Presentasi PowerPoint</vt:lpstr>
      <vt:lpstr>Presentasi PowerPoint</vt:lpstr>
      <vt:lpstr>Presentasi PowerPoint</vt:lpstr>
      <vt:lpstr>Presentasi PowerPoint</vt:lpstr>
      <vt:lpstr>Presentasi PowerPoint</vt:lpstr>
      <vt:lpstr>Presentasi PowerPoint</vt:lpstr>
      <vt:lpstr>Presentasi PowerPoint</vt:lpstr>
      <vt:lpstr>Presentasi PowerPoint</vt:lpstr>
      <vt:lpstr>Presentasi PowerPoint</vt:lpstr>
      <vt:lpstr>Presentasi PowerPoint</vt:lpstr>
      <vt:lpstr>Presentasi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Vunira</dc:creator>
  <cp:lastModifiedBy>Indra Rahmawan</cp:lastModifiedBy>
  <cp:revision>215</cp:revision>
  <dcterms:created xsi:type="dcterms:W3CDTF">2019-07-27T04:48:20Z</dcterms:created>
  <dcterms:modified xsi:type="dcterms:W3CDTF">2022-05-08T01:51:45Z</dcterms:modified>
</cp:coreProperties>
</file>